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1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256" r:id="rId2"/>
    <p:sldId id="327" r:id="rId3"/>
    <p:sldId id="330" r:id="rId4"/>
    <p:sldId id="341" r:id="rId5"/>
    <p:sldId id="306" r:id="rId6"/>
    <p:sldId id="258" r:id="rId7"/>
    <p:sldId id="307" r:id="rId8"/>
    <p:sldId id="331" r:id="rId9"/>
    <p:sldId id="332" r:id="rId10"/>
    <p:sldId id="333" r:id="rId11"/>
    <p:sldId id="334" r:id="rId12"/>
    <p:sldId id="322" r:id="rId13"/>
    <p:sldId id="313" r:id="rId14"/>
    <p:sldId id="335" r:id="rId15"/>
    <p:sldId id="316" r:id="rId16"/>
    <p:sldId id="338" r:id="rId17"/>
    <p:sldId id="339" r:id="rId18"/>
    <p:sldId id="336" r:id="rId19"/>
    <p:sldId id="337" r:id="rId20"/>
    <p:sldId id="340" r:id="rId21"/>
    <p:sldId id="311" r:id="rId22"/>
    <p:sldId id="314" r:id="rId23"/>
    <p:sldId id="318" r:id="rId24"/>
    <p:sldId id="321" r:id="rId25"/>
    <p:sldId id="323" r:id="rId26"/>
    <p:sldId id="320" r:id="rId27"/>
    <p:sldId id="294" r:id="rId28"/>
    <p:sldId id="325" r:id="rId29"/>
    <p:sldId id="324" r:id="rId30"/>
  </p:sldIdLst>
  <p:sldSz cx="9144000" cy="6858000" type="screen4x3"/>
  <p:notesSz cx="6784975" cy="9906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66FF"/>
    <a:srgbClr val="000099"/>
    <a:srgbClr val="E6BF1A"/>
    <a:srgbClr val="0066FF"/>
    <a:srgbClr val="A7BCFF"/>
    <a:srgbClr val="6666FF"/>
    <a:srgbClr val="00B76A"/>
    <a:srgbClr val="FFFF00"/>
    <a:srgbClr val="DD0000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37" autoAdjust="0"/>
  </p:normalViewPr>
  <p:slideViewPr>
    <p:cSldViewPr>
      <p:cViewPr varScale="1">
        <p:scale>
          <a:sx n="93" d="100"/>
          <a:sy n="93" d="100"/>
        </p:scale>
        <p:origin x="456" y="2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72088E-B238-4321-93B2-15C5B1F834CC}" type="doc">
      <dgm:prSet loTypeId="urn:microsoft.com/office/officeart/2005/8/layout/vList5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hu-HU"/>
        </a:p>
      </dgm:t>
    </dgm:pt>
    <dgm:pt modelId="{4406B603-C0F6-4EAF-B281-EA06F8CD7DC7}">
      <dgm:prSet/>
      <dgm:spPr>
        <a:solidFill>
          <a:srgbClr val="A7BCFF"/>
        </a:solidFill>
      </dgm:spPr>
      <dgm:t>
        <a:bodyPr/>
        <a:lstStyle/>
        <a:p>
          <a:pPr rtl="0"/>
          <a:r>
            <a:rPr lang="hu-HU" b="1" dirty="0" smtClean="0">
              <a:solidFill>
                <a:srgbClr val="000066"/>
              </a:solidFill>
            </a:rPr>
            <a:t>Vagyonbiztosítás</a:t>
          </a:r>
          <a:r>
            <a:rPr lang="hu-HU" dirty="0" smtClean="0">
              <a:solidFill>
                <a:srgbClr val="000066"/>
              </a:solidFill>
            </a:rPr>
            <a:t>:</a:t>
          </a:r>
          <a:endParaRPr lang="hu-HU" dirty="0">
            <a:solidFill>
              <a:srgbClr val="000066"/>
            </a:solidFill>
          </a:endParaRPr>
        </a:p>
      </dgm:t>
    </dgm:pt>
    <dgm:pt modelId="{D1324C20-B206-413C-BBAF-ADCC48E45FE0}" type="parTrans" cxnId="{B831196A-6B50-44E1-ABD8-4D70CF57A1A7}">
      <dgm:prSet/>
      <dgm:spPr/>
      <dgm:t>
        <a:bodyPr/>
        <a:lstStyle/>
        <a:p>
          <a:endParaRPr lang="hu-HU"/>
        </a:p>
      </dgm:t>
    </dgm:pt>
    <dgm:pt modelId="{A166B6A0-2A9E-4144-9502-B0039B9A9C88}" type="sibTrans" cxnId="{B831196A-6B50-44E1-ABD8-4D70CF57A1A7}">
      <dgm:prSet/>
      <dgm:spPr/>
      <dgm:t>
        <a:bodyPr/>
        <a:lstStyle/>
        <a:p>
          <a:endParaRPr lang="hu-HU"/>
        </a:p>
      </dgm:t>
    </dgm:pt>
    <dgm:pt modelId="{7AB5BCB7-A160-455C-82A0-1565FBAA0CAB}">
      <dgm:prSet custT="1"/>
      <dgm:spPr>
        <a:solidFill>
          <a:srgbClr val="A7BCFF">
            <a:alpha val="90000"/>
          </a:srgbClr>
        </a:solidFill>
        <a:ln>
          <a:solidFill>
            <a:schemeClr val="accent1">
              <a:alpha val="90000"/>
            </a:schemeClr>
          </a:solidFill>
        </a:ln>
      </dgm:spPr>
      <dgm:t>
        <a:bodyPr/>
        <a:lstStyle/>
        <a:p>
          <a:pPr rtl="0"/>
          <a:r>
            <a:rPr lang="hu-HU" sz="24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Épület</a:t>
          </a:r>
          <a:endParaRPr lang="hu-HU" sz="24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405D317-3A0C-4A48-BDD3-247FE266989F}" type="parTrans" cxnId="{27D7B693-1D7F-44A2-999B-CF3BE06B1CDC}">
      <dgm:prSet/>
      <dgm:spPr/>
      <dgm:t>
        <a:bodyPr/>
        <a:lstStyle/>
        <a:p>
          <a:endParaRPr lang="hu-HU"/>
        </a:p>
      </dgm:t>
    </dgm:pt>
    <dgm:pt modelId="{BBFFB792-289B-4DC6-B531-D23C8473A467}" type="sibTrans" cxnId="{27D7B693-1D7F-44A2-999B-CF3BE06B1CDC}">
      <dgm:prSet/>
      <dgm:spPr/>
      <dgm:t>
        <a:bodyPr/>
        <a:lstStyle/>
        <a:p>
          <a:endParaRPr lang="hu-HU"/>
        </a:p>
      </dgm:t>
    </dgm:pt>
    <dgm:pt modelId="{79A7C5E0-4E8D-4A72-85BB-0B27EFED1E1B}">
      <dgm:prSet custT="1"/>
      <dgm:spPr>
        <a:solidFill>
          <a:srgbClr val="A7BCFF">
            <a:alpha val="90000"/>
          </a:srgbClr>
        </a:solidFill>
        <a:ln>
          <a:solidFill>
            <a:schemeClr val="accent1">
              <a:alpha val="90000"/>
            </a:schemeClr>
          </a:solidFill>
        </a:ln>
      </dgm:spPr>
      <dgm:t>
        <a:bodyPr/>
        <a:lstStyle/>
        <a:p>
          <a:pPr rtl="0"/>
          <a:r>
            <a:rPr lang="hu-HU" sz="24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Ingóság (betöréses lopással vagy betöréses lopás nélkül köthető) </a:t>
          </a:r>
          <a:endParaRPr lang="hu-HU" sz="24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4D8C30-2556-4595-9964-DB6C686D4ABF}" type="parTrans" cxnId="{A591E643-AE73-4F18-A13C-DFB40B7D0E83}">
      <dgm:prSet/>
      <dgm:spPr/>
      <dgm:t>
        <a:bodyPr/>
        <a:lstStyle/>
        <a:p>
          <a:endParaRPr lang="hu-HU"/>
        </a:p>
      </dgm:t>
    </dgm:pt>
    <dgm:pt modelId="{6A537455-65E5-4B79-91ED-F1A99BA82ABD}" type="sibTrans" cxnId="{A591E643-AE73-4F18-A13C-DFB40B7D0E83}">
      <dgm:prSet/>
      <dgm:spPr/>
      <dgm:t>
        <a:bodyPr/>
        <a:lstStyle/>
        <a:p>
          <a:endParaRPr lang="hu-HU"/>
        </a:p>
      </dgm:t>
    </dgm:pt>
    <dgm:pt modelId="{4DD90D98-82AD-4379-9EEE-D2599D498AAB}">
      <dgm:prSet/>
      <dgm:spPr>
        <a:solidFill>
          <a:srgbClr val="A7BCFF"/>
        </a:solidFill>
      </dgm:spPr>
      <dgm:t>
        <a:bodyPr/>
        <a:lstStyle/>
        <a:p>
          <a:pPr rtl="0"/>
          <a:r>
            <a:rPr lang="hu-HU" b="1" dirty="0" smtClean="0">
              <a:solidFill>
                <a:srgbClr val="000066"/>
              </a:solidFill>
            </a:rPr>
            <a:t>Kiegészítő biztosítások:</a:t>
          </a:r>
          <a:endParaRPr lang="hu-HU" dirty="0">
            <a:solidFill>
              <a:srgbClr val="000066"/>
            </a:solidFill>
          </a:endParaRPr>
        </a:p>
      </dgm:t>
    </dgm:pt>
    <dgm:pt modelId="{22652FC9-C0F5-47BB-B5D8-FB93A9E4F909}" type="parTrans" cxnId="{BA844EE3-3813-4675-B0AB-2153A11D1D67}">
      <dgm:prSet/>
      <dgm:spPr/>
      <dgm:t>
        <a:bodyPr/>
        <a:lstStyle/>
        <a:p>
          <a:endParaRPr lang="hu-HU"/>
        </a:p>
      </dgm:t>
    </dgm:pt>
    <dgm:pt modelId="{4D0143B9-2600-466A-9883-22195C29B261}" type="sibTrans" cxnId="{BA844EE3-3813-4675-B0AB-2153A11D1D67}">
      <dgm:prSet/>
      <dgm:spPr/>
      <dgm:t>
        <a:bodyPr/>
        <a:lstStyle/>
        <a:p>
          <a:endParaRPr lang="hu-HU"/>
        </a:p>
      </dgm:t>
    </dgm:pt>
    <dgm:pt modelId="{21BD5701-452A-4D6B-93D4-F22F1AA9CEAD}">
      <dgm:prSet custT="1"/>
      <dgm:spPr>
        <a:solidFill>
          <a:srgbClr val="A7BCFF">
            <a:alpha val="90000"/>
          </a:srgbClr>
        </a:solidFill>
        <a:ln>
          <a:solidFill>
            <a:schemeClr val="accent1">
              <a:alpha val="90000"/>
            </a:schemeClr>
          </a:solidFill>
        </a:ln>
      </dgm:spPr>
      <dgm:t>
        <a:bodyPr/>
        <a:lstStyle/>
        <a:p>
          <a:pPr rtl="0"/>
          <a:r>
            <a:rPr lang="hu-HU" sz="24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Üvegbiztosítás</a:t>
          </a:r>
          <a:endParaRPr lang="hu-HU" sz="24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6A9A464-9636-4975-9EC3-97947A246403}" type="parTrans" cxnId="{91CBABB1-21F5-4BC9-830A-03B8A9821F09}">
      <dgm:prSet/>
      <dgm:spPr/>
      <dgm:t>
        <a:bodyPr/>
        <a:lstStyle/>
        <a:p>
          <a:endParaRPr lang="hu-HU"/>
        </a:p>
      </dgm:t>
    </dgm:pt>
    <dgm:pt modelId="{7205E998-B98F-4003-B3DF-1A3EF2B60FD5}" type="sibTrans" cxnId="{91CBABB1-21F5-4BC9-830A-03B8A9821F09}">
      <dgm:prSet/>
      <dgm:spPr/>
      <dgm:t>
        <a:bodyPr/>
        <a:lstStyle/>
        <a:p>
          <a:endParaRPr lang="hu-HU"/>
        </a:p>
      </dgm:t>
    </dgm:pt>
    <dgm:pt modelId="{46656D94-D365-44E9-BC25-D1527F5F6482}">
      <dgm:prSet custT="1"/>
      <dgm:spPr>
        <a:solidFill>
          <a:srgbClr val="A7BCFF">
            <a:alpha val="90000"/>
          </a:srgbClr>
        </a:solidFill>
        <a:ln>
          <a:solidFill>
            <a:schemeClr val="accent1">
              <a:alpha val="90000"/>
            </a:schemeClr>
          </a:solidFill>
        </a:ln>
      </dgm:spPr>
      <dgm:t>
        <a:bodyPr/>
        <a:lstStyle/>
        <a:p>
          <a:pPr rtl="0"/>
          <a:r>
            <a:rPr lang="hu-HU" sz="24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Felelősségbiztosítások</a:t>
          </a:r>
          <a:endParaRPr lang="hu-HU" sz="24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6DE09DF-E9F8-41BB-8FA5-045ED3A92F42}" type="parTrans" cxnId="{1725A6B8-B9BA-4047-9397-22AE4D1EF37B}">
      <dgm:prSet/>
      <dgm:spPr/>
      <dgm:t>
        <a:bodyPr/>
        <a:lstStyle/>
        <a:p>
          <a:endParaRPr lang="hu-HU"/>
        </a:p>
      </dgm:t>
    </dgm:pt>
    <dgm:pt modelId="{07364322-C0B7-4318-8256-6ACB7037EA5F}" type="sibTrans" cxnId="{1725A6B8-B9BA-4047-9397-22AE4D1EF37B}">
      <dgm:prSet/>
      <dgm:spPr/>
      <dgm:t>
        <a:bodyPr/>
        <a:lstStyle/>
        <a:p>
          <a:endParaRPr lang="hu-HU"/>
        </a:p>
      </dgm:t>
    </dgm:pt>
    <dgm:pt modelId="{4DB37B36-2109-4086-8858-71728F5E456A}">
      <dgm:prSet custT="1"/>
      <dgm:spPr>
        <a:solidFill>
          <a:srgbClr val="A7BCFF">
            <a:alpha val="90000"/>
          </a:srgbClr>
        </a:solidFill>
        <a:ln>
          <a:solidFill>
            <a:schemeClr val="accent1">
              <a:alpha val="90000"/>
            </a:schemeClr>
          </a:solidFill>
        </a:ln>
      </dgm:spPr>
      <dgm:t>
        <a:bodyPr/>
        <a:lstStyle/>
        <a:p>
          <a:pPr rtl="0"/>
          <a:r>
            <a:rPr lang="hu-HU" sz="24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Üzemszünet-biztosítás</a:t>
          </a:r>
          <a:endParaRPr lang="hu-HU" sz="24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8ABE64-EF1C-47C4-B8D6-4A52DEB512AF}" type="parTrans" cxnId="{62D3C4D8-875B-436C-80B1-1C22F733C4F6}">
      <dgm:prSet/>
      <dgm:spPr/>
      <dgm:t>
        <a:bodyPr/>
        <a:lstStyle/>
        <a:p>
          <a:endParaRPr lang="hu-HU"/>
        </a:p>
      </dgm:t>
    </dgm:pt>
    <dgm:pt modelId="{02A6A4CB-BFB3-4010-B931-104F2CCEA766}" type="sibTrans" cxnId="{62D3C4D8-875B-436C-80B1-1C22F733C4F6}">
      <dgm:prSet/>
      <dgm:spPr/>
      <dgm:t>
        <a:bodyPr/>
        <a:lstStyle/>
        <a:p>
          <a:endParaRPr lang="hu-HU"/>
        </a:p>
      </dgm:t>
    </dgm:pt>
    <dgm:pt modelId="{E33071A8-C688-4FED-9A94-6ACC7CD48620}">
      <dgm:prSet custT="1"/>
      <dgm:spPr>
        <a:solidFill>
          <a:srgbClr val="A7BCFF">
            <a:alpha val="90000"/>
          </a:srgbClr>
        </a:solidFill>
        <a:ln>
          <a:solidFill>
            <a:schemeClr val="accent1">
              <a:alpha val="90000"/>
            </a:schemeClr>
          </a:solidFill>
        </a:ln>
      </dgm:spPr>
      <dgm:t>
        <a:bodyPr/>
        <a:lstStyle/>
        <a:p>
          <a:pPr rtl="0"/>
          <a:r>
            <a:rPr lang="hu-HU" sz="24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Géptörés-biztosítás</a:t>
          </a:r>
          <a:endParaRPr lang="hu-HU" sz="24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9B533AE-6681-4723-B9C6-15EDC6EB8E90}" type="parTrans" cxnId="{39107F92-C001-4CFC-88E7-D8B7145EAC0C}">
      <dgm:prSet/>
      <dgm:spPr/>
      <dgm:t>
        <a:bodyPr/>
        <a:lstStyle/>
        <a:p>
          <a:endParaRPr lang="hu-HU"/>
        </a:p>
      </dgm:t>
    </dgm:pt>
    <dgm:pt modelId="{4E21970B-45C8-48D1-91F4-3BFAEDFFEEB5}" type="sibTrans" cxnId="{39107F92-C001-4CFC-88E7-D8B7145EAC0C}">
      <dgm:prSet/>
      <dgm:spPr/>
      <dgm:t>
        <a:bodyPr/>
        <a:lstStyle/>
        <a:p>
          <a:endParaRPr lang="hu-HU"/>
        </a:p>
      </dgm:t>
    </dgm:pt>
    <dgm:pt modelId="{78A0B979-F39F-435E-96AC-346D1431CA54}">
      <dgm:prSet custT="1"/>
      <dgm:spPr>
        <a:solidFill>
          <a:srgbClr val="A7BCFF">
            <a:alpha val="90000"/>
          </a:srgbClr>
        </a:solidFill>
        <a:ln>
          <a:solidFill>
            <a:schemeClr val="accent1">
              <a:alpha val="90000"/>
            </a:schemeClr>
          </a:solidFill>
        </a:ln>
      </dgm:spPr>
      <dgm:t>
        <a:bodyPr/>
        <a:lstStyle/>
        <a:p>
          <a:pPr rtl="0"/>
          <a:r>
            <a:rPr lang="hu-HU" sz="24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Elektromos és elektronikus berendezések biztosítása (ELBER)</a:t>
          </a:r>
          <a:endParaRPr lang="hu-HU" sz="24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4AD45A1-C5C1-4226-ACC1-D2BDDD7A5A57}" type="parTrans" cxnId="{17AB96BA-5D72-459F-995D-2EA94BAC210A}">
      <dgm:prSet/>
      <dgm:spPr/>
      <dgm:t>
        <a:bodyPr/>
        <a:lstStyle/>
        <a:p>
          <a:endParaRPr lang="hu-HU"/>
        </a:p>
      </dgm:t>
    </dgm:pt>
    <dgm:pt modelId="{3D31EAB4-A9AD-449D-A364-1D0130A86FB1}" type="sibTrans" cxnId="{17AB96BA-5D72-459F-995D-2EA94BAC210A}">
      <dgm:prSet/>
      <dgm:spPr/>
      <dgm:t>
        <a:bodyPr/>
        <a:lstStyle/>
        <a:p>
          <a:endParaRPr lang="hu-HU"/>
        </a:p>
      </dgm:t>
    </dgm:pt>
    <dgm:pt modelId="{26C67F4F-2C85-47CE-A6A5-D1D034AC19B7}" type="pres">
      <dgm:prSet presAssocID="{5172088E-B238-4321-93B2-15C5B1F834C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99306A37-66C0-448D-AB42-8CF102FFFCC2}" type="pres">
      <dgm:prSet presAssocID="{4406B603-C0F6-4EAF-B281-EA06F8CD7DC7}" presName="linNode" presStyleCnt="0"/>
      <dgm:spPr/>
      <dgm:t>
        <a:bodyPr/>
        <a:lstStyle/>
        <a:p>
          <a:endParaRPr lang="hu-HU"/>
        </a:p>
      </dgm:t>
    </dgm:pt>
    <dgm:pt modelId="{A0ACBFD1-A2E7-4574-A660-78C87BB90CBA}" type="pres">
      <dgm:prSet presAssocID="{4406B603-C0F6-4EAF-B281-EA06F8CD7DC7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55D1F4A-4E59-46B7-B84D-E397DBB7F66B}" type="pres">
      <dgm:prSet presAssocID="{4406B603-C0F6-4EAF-B281-EA06F8CD7DC7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F5F847F-12AB-41F9-9B63-DDC0B6A05200}" type="pres">
      <dgm:prSet presAssocID="{A166B6A0-2A9E-4144-9502-B0039B9A9C88}" presName="sp" presStyleCnt="0"/>
      <dgm:spPr/>
      <dgm:t>
        <a:bodyPr/>
        <a:lstStyle/>
        <a:p>
          <a:endParaRPr lang="hu-HU"/>
        </a:p>
      </dgm:t>
    </dgm:pt>
    <dgm:pt modelId="{68F4EC6B-3066-4AEB-B050-5FD1848CA3B6}" type="pres">
      <dgm:prSet presAssocID="{4DD90D98-82AD-4379-9EEE-D2599D498AAB}" presName="linNode" presStyleCnt="0"/>
      <dgm:spPr/>
      <dgm:t>
        <a:bodyPr/>
        <a:lstStyle/>
        <a:p>
          <a:endParaRPr lang="hu-HU"/>
        </a:p>
      </dgm:t>
    </dgm:pt>
    <dgm:pt modelId="{2B16387A-9950-451C-9C3C-C687013838CA}" type="pres">
      <dgm:prSet presAssocID="{4DD90D98-82AD-4379-9EEE-D2599D498AAB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D6E8DA2-E660-4FC8-AF6D-DD1B880238D7}" type="pres">
      <dgm:prSet presAssocID="{4DD90D98-82AD-4379-9EEE-D2599D498AAB}" presName="descendantText" presStyleLbl="alignAccFollowNode1" presStyleIdx="1" presStyleCnt="2" custScaleY="137856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3D927305-8222-4C8D-B8D1-9A873D9D7361}" type="presOf" srcId="{79A7C5E0-4E8D-4A72-85BB-0B27EFED1E1B}" destId="{255D1F4A-4E59-46B7-B84D-E397DBB7F66B}" srcOrd="0" destOrd="1" presId="urn:microsoft.com/office/officeart/2005/8/layout/vList5"/>
    <dgm:cxn modelId="{934CF51D-D466-43A7-BAC1-522E77304FE4}" type="presOf" srcId="{46656D94-D365-44E9-BC25-D1527F5F6482}" destId="{2D6E8DA2-E660-4FC8-AF6D-DD1B880238D7}" srcOrd="0" destOrd="1" presId="urn:microsoft.com/office/officeart/2005/8/layout/vList5"/>
    <dgm:cxn modelId="{9A69C127-A65B-4A15-A428-147FE4E5E5FF}" type="presOf" srcId="{7AB5BCB7-A160-455C-82A0-1565FBAA0CAB}" destId="{255D1F4A-4E59-46B7-B84D-E397DBB7F66B}" srcOrd="0" destOrd="0" presId="urn:microsoft.com/office/officeart/2005/8/layout/vList5"/>
    <dgm:cxn modelId="{91CBABB1-21F5-4BC9-830A-03B8A9821F09}" srcId="{4DD90D98-82AD-4379-9EEE-D2599D498AAB}" destId="{21BD5701-452A-4D6B-93D4-F22F1AA9CEAD}" srcOrd="0" destOrd="0" parTransId="{D6A9A464-9636-4975-9EC3-97947A246403}" sibTransId="{7205E998-B98F-4003-B3DF-1A3EF2B60FD5}"/>
    <dgm:cxn modelId="{F8AD77A3-F04B-4749-B616-69F3755945F1}" type="presOf" srcId="{4406B603-C0F6-4EAF-B281-EA06F8CD7DC7}" destId="{A0ACBFD1-A2E7-4574-A660-78C87BB90CBA}" srcOrd="0" destOrd="0" presId="urn:microsoft.com/office/officeart/2005/8/layout/vList5"/>
    <dgm:cxn modelId="{DCE52342-71CF-4911-8522-6B64276E0AE2}" type="presOf" srcId="{5172088E-B238-4321-93B2-15C5B1F834CC}" destId="{26C67F4F-2C85-47CE-A6A5-D1D034AC19B7}" srcOrd="0" destOrd="0" presId="urn:microsoft.com/office/officeart/2005/8/layout/vList5"/>
    <dgm:cxn modelId="{62D3C4D8-875B-436C-80B1-1C22F733C4F6}" srcId="{4DD90D98-82AD-4379-9EEE-D2599D498AAB}" destId="{4DB37B36-2109-4086-8858-71728F5E456A}" srcOrd="2" destOrd="0" parTransId="{2E8ABE64-EF1C-47C4-B8D6-4A52DEB512AF}" sibTransId="{02A6A4CB-BFB3-4010-B931-104F2CCEA766}"/>
    <dgm:cxn modelId="{BA844EE3-3813-4675-B0AB-2153A11D1D67}" srcId="{5172088E-B238-4321-93B2-15C5B1F834CC}" destId="{4DD90D98-82AD-4379-9EEE-D2599D498AAB}" srcOrd="1" destOrd="0" parTransId="{22652FC9-C0F5-47BB-B5D8-FB93A9E4F909}" sibTransId="{4D0143B9-2600-466A-9883-22195C29B261}"/>
    <dgm:cxn modelId="{8C45F9C3-DE77-435B-94E2-CF87CDEB09BA}" type="presOf" srcId="{4DD90D98-82AD-4379-9EEE-D2599D498AAB}" destId="{2B16387A-9950-451C-9C3C-C687013838CA}" srcOrd="0" destOrd="0" presId="urn:microsoft.com/office/officeart/2005/8/layout/vList5"/>
    <dgm:cxn modelId="{39107F92-C001-4CFC-88E7-D8B7145EAC0C}" srcId="{4DD90D98-82AD-4379-9EEE-D2599D498AAB}" destId="{E33071A8-C688-4FED-9A94-6ACC7CD48620}" srcOrd="3" destOrd="0" parTransId="{E9B533AE-6681-4723-B9C6-15EDC6EB8E90}" sibTransId="{4E21970B-45C8-48D1-91F4-3BFAEDFFEEB5}"/>
    <dgm:cxn modelId="{C2EA98D1-FB99-408E-A3EA-95B8FFD326A1}" type="presOf" srcId="{E33071A8-C688-4FED-9A94-6ACC7CD48620}" destId="{2D6E8DA2-E660-4FC8-AF6D-DD1B880238D7}" srcOrd="0" destOrd="3" presId="urn:microsoft.com/office/officeart/2005/8/layout/vList5"/>
    <dgm:cxn modelId="{E90289B1-A263-45FC-BC4F-C161CEA750EA}" type="presOf" srcId="{21BD5701-452A-4D6B-93D4-F22F1AA9CEAD}" destId="{2D6E8DA2-E660-4FC8-AF6D-DD1B880238D7}" srcOrd="0" destOrd="0" presId="urn:microsoft.com/office/officeart/2005/8/layout/vList5"/>
    <dgm:cxn modelId="{B831196A-6B50-44E1-ABD8-4D70CF57A1A7}" srcId="{5172088E-B238-4321-93B2-15C5B1F834CC}" destId="{4406B603-C0F6-4EAF-B281-EA06F8CD7DC7}" srcOrd="0" destOrd="0" parTransId="{D1324C20-B206-413C-BBAF-ADCC48E45FE0}" sibTransId="{A166B6A0-2A9E-4144-9502-B0039B9A9C88}"/>
    <dgm:cxn modelId="{51DE0A97-1F3E-4B7C-A24E-95B0214E8D8C}" type="presOf" srcId="{4DB37B36-2109-4086-8858-71728F5E456A}" destId="{2D6E8DA2-E660-4FC8-AF6D-DD1B880238D7}" srcOrd="0" destOrd="2" presId="urn:microsoft.com/office/officeart/2005/8/layout/vList5"/>
    <dgm:cxn modelId="{A591E643-AE73-4F18-A13C-DFB40B7D0E83}" srcId="{4406B603-C0F6-4EAF-B281-EA06F8CD7DC7}" destId="{79A7C5E0-4E8D-4A72-85BB-0B27EFED1E1B}" srcOrd="1" destOrd="0" parTransId="{354D8C30-2556-4595-9964-DB6C686D4ABF}" sibTransId="{6A537455-65E5-4B79-91ED-F1A99BA82ABD}"/>
    <dgm:cxn modelId="{27D7B693-1D7F-44A2-999B-CF3BE06B1CDC}" srcId="{4406B603-C0F6-4EAF-B281-EA06F8CD7DC7}" destId="{7AB5BCB7-A160-455C-82A0-1565FBAA0CAB}" srcOrd="0" destOrd="0" parTransId="{0405D317-3A0C-4A48-BDD3-247FE266989F}" sibTransId="{BBFFB792-289B-4DC6-B531-D23C8473A467}"/>
    <dgm:cxn modelId="{1725A6B8-B9BA-4047-9397-22AE4D1EF37B}" srcId="{4DD90D98-82AD-4379-9EEE-D2599D498AAB}" destId="{46656D94-D365-44E9-BC25-D1527F5F6482}" srcOrd="1" destOrd="0" parTransId="{B6DE09DF-E9F8-41BB-8FA5-045ED3A92F42}" sibTransId="{07364322-C0B7-4318-8256-6ACB7037EA5F}"/>
    <dgm:cxn modelId="{5BB05CF1-291D-441C-AF19-E4D0C8A9E54C}" type="presOf" srcId="{78A0B979-F39F-435E-96AC-346D1431CA54}" destId="{2D6E8DA2-E660-4FC8-AF6D-DD1B880238D7}" srcOrd="0" destOrd="4" presId="urn:microsoft.com/office/officeart/2005/8/layout/vList5"/>
    <dgm:cxn modelId="{17AB96BA-5D72-459F-995D-2EA94BAC210A}" srcId="{4DD90D98-82AD-4379-9EEE-D2599D498AAB}" destId="{78A0B979-F39F-435E-96AC-346D1431CA54}" srcOrd="4" destOrd="0" parTransId="{B4AD45A1-C5C1-4226-ACC1-D2BDDD7A5A57}" sibTransId="{3D31EAB4-A9AD-449D-A364-1D0130A86FB1}"/>
    <dgm:cxn modelId="{A0C221B1-9445-4DB7-AD7B-27C48C4486B2}" type="presParOf" srcId="{26C67F4F-2C85-47CE-A6A5-D1D034AC19B7}" destId="{99306A37-66C0-448D-AB42-8CF102FFFCC2}" srcOrd="0" destOrd="0" presId="urn:microsoft.com/office/officeart/2005/8/layout/vList5"/>
    <dgm:cxn modelId="{9475063B-9D97-4427-A17D-C5E5E4D1FA30}" type="presParOf" srcId="{99306A37-66C0-448D-AB42-8CF102FFFCC2}" destId="{A0ACBFD1-A2E7-4574-A660-78C87BB90CBA}" srcOrd="0" destOrd="0" presId="urn:microsoft.com/office/officeart/2005/8/layout/vList5"/>
    <dgm:cxn modelId="{CBB12A7F-FD60-4E90-BDB2-1BB4D476CBE6}" type="presParOf" srcId="{99306A37-66C0-448D-AB42-8CF102FFFCC2}" destId="{255D1F4A-4E59-46B7-B84D-E397DBB7F66B}" srcOrd="1" destOrd="0" presId="urn:microsoft.com/office/officeart/2005/8/layout/vList5"/>
    <dgm:cxn modelId="{11ACAD48-7786-4EA2-BEEC-4A0CD30D3E78}" type="presParOf" srcId="{26C67F4F-2C85-47CE-A6A5-D1D034AC19B7}" destId="{FF5F847F-12AB-41F9-9B63-DDC0B6A05200}" srcOrd="1" destOrd="0" presId="urn:microsoft.com/office/officeart/2005/8/layout/vList5"/>
    <dgm:cxn modelId="{821C5AED-A352-4BDF-B1E1-D7C07D7481C7}" type="presParOf" srcId="{26C67F4F-2C85-47CE-A6A5-D1D034AC19B7}" destId="{68F4EC6B-3066-4AEB-B050-5FD1848CA3B6}" srcOrd="2" destOrd="0" presId="urn:microsoft.com/office/officeart/2005/8/layout/vList5"/>
    <dgm:cxn modelId="{E2521E04-3BEC-4899-9526-43B974060510}" type="presParOf" srcId="{68F4EC6B-3066-4AEB-B050-5FD1848CA3B6}" destId="{2B16387A-9950-451C-9C3C-C687013838CA}" srcOrd="0" destOrd="0" presId="urn:microsoft.com/office/officeart/2005/8/layout/vList5"/>
    <dgm:cxn modelId="{D58E5193-EE69-4877-B2DA-4352CC7E877C}" type="presParOf" srcId="{68F4EC6B-3066-4AEB-B050-5FD1848CA3B6}" destId="{2D6E8DA2-E660-4FC8-AF6D-DD1B880238D7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90A1A72-92ED-42A8-B5F0-EDE0C02EF11E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hu-HU"/>
        </a:p>
      </dgm:t>
    </dgm:pt>
    <dgm:pt modelId="{75B293C8-2DDA-44AD-AF79-B1ECC1933CB8}">
      <dgm:prSet custT="1"/>
      <dgm:spPr>
        <a:solidFill>
          <a:schemeClr val="accent3">
            <a:lumMod val="75000"/>
          </a:schemeClr>
        </a:solidFill>
      </dgm:spPr>
      <dgm:t>
        <a:bodyPr/>
        <a:lstStyle/>
        <a:p>
          <a:pPr algn="ctr" rtl="0"/>
          <a:r>
            <a:rPr lang="hu-HU" sz="2400" dirty="0" smtClean="0">
              <a:solidFill>
                <a:srgbClr val="000099"/>
              </a:solidFill>
            </a:rPr>
            <a:t>Munkáltatói</a:t>
          </a:r>
          <a:endParaRPr lang="hu-HU" sz="2000" dirty="0">
            <a:solidFill>
              <a:srgbClr val="000099"/>
            </a:solidFill>
          </a:endParaRPr>
        </a:p>
      </dgm:t>
    </dgm:pt>
    <dgm:pt modelId="{52A95FA1-F00A-40A6-810F-F6A501935ABD}" type="parTrans" cxnId="{927A6FC4-38EC-4E15-A030-C90CD1CE103D}">
      <dgm:prSet/>
      <dgm:spPr/>
      <dgm:t>
        <a:bodyPr/>
        <a:lstStyle/>
        <a:p>
          <a:endParaRPr lang="hu-HU"/>
        </a:p>
      </dgm:t>
    </dgm:pt>
    <dgm:pt modelId="{9CDD403F-066E-46F0-97A4-E25270F88D07}" type="sibTrans" cxnId="{927A6FC4-38EC-4E15-A030-C90CD1CE103D}">
      <dgm:prSet/>
      <dgm:spPr/>
      <dgm:t>
        <a:bodyPr/>
        <a:lstStyle/>
        <a:p>
          <a:endParaRPr lang="hu-HU"/>
        </a:p>
      </dgm:t>
    </dgm:pt>
    <dgm:pt modelId="{B11894F9-D603-4768-87D2-CCA6D06C530B}">
      <dgm:prSet custT="1"/>
      <dgm:spPr>
        <a:solidFill>
          <a:schemeClr val="tx2">
            <a:lumMod val="75000"/>
          </a:schemeClr>
        </a:solidFill>
      </dgm:spPr>
      <dgm:t>
        <a:bodyPr/>
        <a:lstStyle/>
        <a:p>
          <a:pPr algn="ctr" rtl="0"/>
          <a:r>
            <a:rPr lang="hu-HU" sz="2400" dirty="0" smtClean="0">
              <a:solidFill>
                <a:srgbClr val="000099"/>
              </a:solidFill>
            </a:rPr>
            <a:t>Ingatlan-bérlői</a:t>
          </a:r>
          <a:r>
            <a:rPr lang="hu-HU" sz="3200" dirty="0" smtClean="0"/>
            <a:t> </a:t>
          </a:r>
          <a:endParaRPr lang="hu-HU" sz="3200" dirty="0"/>
        </a:p>
      </dgm:t>
    </dgm:pt>
    <dgm:pt modelId="{E379E19B-CC3A-4BFF-8857-EBE5A6C2218D}" type="parTrans" cxnId="{4E4E0588-869C-444C-A0A0-051777288971}">
      <dgm:prSet/>
      <dgm:spPr/>
      <dgm:t>
        <a:bodyPr/>
        <a:lstStyle/>
        <a:p>
          <a:endParaRPr lang="hu-HU"/>
        </a:p>
      </dgm:t>
    </dgm:pt>
    <dgm:pt modelId="{D611F94C-E9D1-4B17-940F-6E33C0B37B91}" type="sibTrans" cxnId="{4E4E0588-869C-444C-A0A0-051777288971}">
      <dgm:prSet/>
      <dgm:spPr/>
      <dgm:t>
        <a:bodyPr/>
        <a:lstStyle/>
        <a:p>
          <a:endParaRPr lang="hu-HU"/>
        </a:p>
      </dgm:t>
    </dgm:pt>
    <dgm:pt modelId="{044ED550-E348-4CA6-B21D-6B01907C9C73}">
      <dgm:prSet custT="1"/>
      <dgm:spPr>
        <a:solidFill>
          <a:schemeClr val="accent3">
            <a:lumMod val="75000"/>
          </a:schemeClr>
        </a:solidFill>
      </dgm:spPr>
      <dgm:t>
        <a:bodyPr/>
        <a:lstStyle/>
        <a:p>
          <a:pPr algn="ctr" rtl="0"/>
          <a:r>
            <a:rPr lang="hu-HU" sz="2400" dirty="0" smtClean="0">
              <a:solidFill>
                <a:srgbClr val="000099"/>
              </a:solidFill>
            </a:rPr>
            <a:t>Ingatlan-bérbeadói</a:t>
          </a:r>
          <a:endParaRPr lang="hu-HU" sz="2400" dirty="0">
            <a:solidFill>
              <a:srgbClr val="000099"/>
            </a:solidFill>
          </a:endParaRPr>
        </a:p>
      </dgm:t>
    </dgm:pt>
    <dgm:pt modelId="{75415DAA-FA47-4AED-ABF2-8EDA14E5109D}" type="parTrans" cxnId="{ED97632E-D43E-452C-9B42-D9EAF8FFC0FB}">
      <dgm:prSet/>
      <dgm:spPr/>
      <dgm:t>
        <a:bodyPr/>
        <a:lstStyle/>
        <a:p>
          <a:endParaRPr lang="hu-HU"/>
        </a:p>
      </dgm:t>
    </dgm:pt>
    <dgm:pt modelId="{45551E6C-59F6-4681-9D3E-D44564C36601}" type="sibTrans" cxnId="{ED97632E-D43E-452C-9B42-D9EAF8FFC0FB}">
      <dgm:prSet/>
      <dgm:spPr/>
      <dgm:t>
        <a:bodyPr/>
        <a:lstStyle/>
        <a:p>
          <a:endParaRPr lang="hu-HU"/>
        </a:p>
      </dgm:t>
    </dgm:pt>
    <dgm:pt modelId="{E64CB2E1-D341-4033-B18F-5BF873B14C8C}">
      <dgm:prSet custT="1"/>
      <dgm:spPr>
        <a:solidFill>
          <a:schemeClr val="accent5">
            <a:lumMod val="90000"/>
          </a:schemeClr>
        </a:solidFill>
      </dgm:spPr>
      <dgm:t>
        <a:bodyPr/>
        <a:lstStyle/>
        <a:p>
          <a:pPr algn="ctr" rtl="0"/>
          <a:r>
            <a:rPr lang="hu-HU" sz="2400" dirty="0" smtClean="0">
              <a:solidFill>
                <a:srgbClr val="000099"/>
              </a:solidFill>
            </a:rPr>
            <a:t>Szállodai szolgáltatók</a:t>
          </a:r>
          <a:endParaRPr lang="hu-HU" sz="2400" dirty="0">
            <a:solidFill>
              <a:srgbClr val="000099"/>
            </a:solidFill>
          </a:endParaRPr>
        </a:p>
      </dgm:t>
    </dgm:pt>
    <dgm:pt modelId="{2386BE1B-1ABF-47B6-8631-503D5B6849C7}" type="parTrans" cxnId="{ACC778BD-D159-4571-916F-81357EBDDDBE}">
      <dgm:prSet/>
      <dgm:spPr/>
      <dgm:t>
        <a:bodyPr/>
        <a:lstStyle/>
        <a:p>
          <a:endParaRPr lang="hu-HU"/>
        </a:p>
      </dgm:t>
    </dgm:pt>
    <dgm:pt modelId="{139EA504-99CA-44FF-BB07-244EA964D8CE}" type="sibTrans" cxnId="{ACC778BD-D159-4571-916F-81357EBDDDBE}">
      <dgm:prSet/>
      <dgm:spPr/>
      <dgm:t>
        <a:bodyPr/>
        <a:lstStyle/>
        <a:p>
          <a:endParaRPr lang="hu-HU"/>
        </a:p>
      </dgm:t>
    </dgm:pt>
    <dgm:pt modelId="{B728EF97-FA8F-4C97-85A3-E865F7050C8D}">
      <dgm:prSet custT="1"/>
      <dgm:spPr>
        <a:solidFill>
          <a:schemeClr val="accent3">
            <a:lumMod val="75000"/>
          </a:schemeClr>
        </a:solidFill>
      </dgm:spPr>
      <dgm:t>
        <a:bodyPr/>
        <a:lstStyle/>
        <a:p>
          <a:pPr algn="ctr" rtl="0"/>
          <a:r>
            <a:rPr lang="hu-HU" sz="1600" dirty="0" smtClean="0">
              <a:solidFill>
                <a:srgbClr val="000099"/>
              </a:solidFill>
            </a:rPr>
            <a:t>Oktatói, gyakorlati képzést szervezői</a:t>
          </a:r>
          <a:endParaRPr lang="hu-HU" sz="1600" dirty="0">
            <a:solidFill>
              <a:srgbClr val="000099"/>
            </a:solidFill>
          </a:endParaRPr>
        </a:p>
      </dgm:t>
    </dgm:pt>
    <dgm:pt modelId="{726F3326-906F-48FD-82E7-BDDB12485F7D}" type="parTrans" cxnId="{333CB9F2-AF57-44C7-88C4-955ECBEB5F33}">
      <dgm:prSet/>
      <dgm:spPr/>
      <dgm:t>
        <a:bodyPr/>
        <a:lstStyle/>
        <a:p>
          <a:endParaRPr lang="hu-HU"/>
        </a:p>
      </dgm:t>
    </dgm:pt>
    <dgm:pt modelId="{91F3E80E-876D-4938-8030-F063FB1C930D}" type="sibTrans" cxnId="{333CB9F2-AF57-44C7-88C4-955ECBEB5F33}">
      <dgm:prSet/>
      <dgm:spPr/>
      <dgm:t>
        <a:bodyPr/>
        <a:lstStyle/>
        <a:p>
          <a:endParaRPr lang="hu-HU"/>
        </a:p>
      </dgm:t>
    </dgm:pt>
    <dgm:pt modelId="{28EDE338-6171-4963-A941-663447053BEB}">
      <dgm:prSet custT="1"/>
      <dgm:spPr>
        <a:solidFill>
          <a:schemeClr val="accent3">
            <a:lumMod val="75000"/>
          </a:schemeClr>
        </a:solidFill>
      </dgm:spPr>
      <dgm:t>
        <a:bodyPr/>
        <a:lstStyle/>
        <a:p>
          <a:pPr algn="ctr" rtl="0"/>
          <a:r>
            <a:rPr lang="hu-HU" sz="2000" dirty="0" smtClean="0">
              <a:solidFill>
                <a:srgbClr val="000099"/>
              </a:solidFill>
            </a:rPr>
            <a:t>Gépjárműszervizek</a:t>
          </a:r>
          <a:endParaRPr lang="hu-HU" sz="2000" dirty="0">
            <a:solidFill>
              <a:srgbClr val="000099"/>
            </a:solidFill>
          </a:endParaRPr>
        </a:p>
      </dgm:t>
    </dgm:pt>
    <dgm:pt modelId="{F29AEF04-4FF1-47C2-AC64-08B92085CAD0}" type="parTrans" cxnId="{2F7B0BC0-6806-442C-BAB0-CFD890B18B85}">
      <dgm:prSet/>
      <dgm:spPr/>
      <dgm:t>
        <a:bodyPr/>
        <a:lstStyle/>
        <a:p>
          <a:endParaRPr lang="hu-HU"/>
        </a:p>
      </dgm:t>
    </dgm:pt>
    <dgm:pt modelId="{A7B21F51-5B7C-418B-845C-CBBF7117F409}" type="sibTrans" cxnId="{2F7B0BC0-6806-442C-BAB0-CFD890B18B85}">
      <dgm:prSet/>
      <dgm:spPr/>
      <dgm:t>
        <a:bodyPr/>
        <a:lstStyle/>
        <a:p>
          <a:endParaRPr lang="hu-HU"/>
        </a:p>
      </dgm:t>
    </dgm:pt>
    <dgm:pt modelId="{0FC642BE-8A2E-4F15-842E-93A2B56413E3}">
      <dgm:prSet custT="1"/>
      <dgm:spPr>
        <a:solidFill>
          <a:srgbClr val="3366FF"/>
        </a:solidFill>
      </dgm:spPr>
      <dgm:t>
        <a:bodyPr/>
        <a:lstStyle/>
        <a:p>
          <a:pPr algn="ctr" rtl="0"/>
          <a:r>
            <a:rPr lang="hu-HU" sz="2400" dirty="0" smtClean="0">
              <a:solidFill>
                <a:srgbClr val="000099"/>
              </a:solidFill>
            </a:rPr>
            <a:t>Termék</a:t>
          </a:r>
          <a:endParaRPr lang="hu-HU" sz="2400" dirty="0">
            <a:solidFill>
              <a:srgbClr val="000099"/>
            </a:solidFill>
          </a:endParaRPr>
        </a:p>
      </dgm:t>
    </dgm:pt>
    <dgm:pt modelId="{35556131-2F39-4162-B822-361740C2D6F4}" type="parTrans" cxnId="{07478338-12CD-4155-BC22-588275F3B087}">
      <dgm:prSet/>
      <dgm:spPr/>
      <dgm:t>
        <a:bodyPr/>
        <a:lstStyle/>
        <a:p>
          <a:endParaRPr lang="hu-HU"/>
        </a:p>
      </dgm:t>
    </dgm:pt>
    <dgm:pt modelId="{F5984EA9-1A3A-4B10-A0A8-9AB36F8CC219}" type="sibTrans" cxnId="{07478338-12CD-4155-BC22-588275F3B087}">
      <dgm:prSet/>
      <dgm:spPr/>
      <dgm:t>
        <a:bodyPr/>
        <a:lstStyle/>
        <a:p>
          <a:endParaRPr lang="hu-HU"/>
        </a:p>
      </dgm:t>
    </dgm:pt>
    <dgm:pt modelId="{D2E9F229-266A-4158-A224-210F3546F1EB}">
      <dgm:prSet custT="1"/>
      <dgm:spPr>
        <a:solidFill>
          <a:schemeClr val="bg1">
            <a:lumMod val="75000"/>
          </a:schemeClr>
        </a:solidFill>
      </dgm:spPr>
      <dgm:t>
        <a:bodyPr/>
        <a:lstStyle/>
        <a:p>
          <a:pPr algn="ctr" rtl="0"/>
          <a:r>
            <a:rPr lang="hu-HU" sz="2400" dirty="0" smtClean="0">
              <a:solidFill>
                <a:srgbClr val="000099"/>
              </a:solidFill>
            </a:rPr>
            <a:t>Környezetszennyezési</a:t>
          </a:r>
          <a:endParaRPr lang="hu-HU" sz="2400" dirty="0">
            <a:solidFill>
              <a:srgbClr val="000099"/>
            </a:solidFill>
          </a:endParaRPr>
        </a:p>
      </dgm:t>
    </dgm:pt>
    <dgm:pt modelId="{1CED4089-5B78-471E-BE3C-36C98651979B}" type="parTrans" cxnId="{08853305-7525-43ED-B6FF-4847FDE03E49}">
      <dgm:prSet/>
      <dgm:spPr/>
      <dgm:t>
        <a:bodyPr/>
        <a:lstStyle/>
        <a:p>
          <a:endParaRPr lang="hu-HU"/>
        </a:p>
      </dgm:t>
    </dgm:pt>
    <dgm:pt modelId="{6EEC4092-05EB-46AD-B587-B3A77D3C289D}" type="sibTrans" cxnId="{08853305-7525-43ED-B6FF-4847FDE03E49}">
      <dgm:prSet/>
      <dgm:spPr/>
      <dgm:t>
        <a:bodyPr/>
        <a:lstStyle/>
        <a:p>
          <a:endParaRPr lang="hu-HU"/>
        </a:p>
      </dgm:t>
    </dgm:pt>
    <dgm:pt modelId="{F759F017-886D-4401-AABC-8E55AB76489C}">
      <dgm:prSet custT="1"/>
      <dgm:spPr>
        <a:solidFill>
          <a:srgbClr val="00B0F0"/>
        </a:solidFill>
      </dgm:spPr>
      <dgm:t>
        <a:bodyPr/>
        <a:lstStyle/>
        <a:p>
          <a:pPr algn="ctr" rtl="0"/>
          <a:r>
            <a:rPr lang="hu-HU" sz="2400" b="0" smtClean="0">
              <a:solidFill>
                <a:srgbClr val="000099"/>
              </a:solidFill>
            </a:rPr>
            <a:t>Szolgáltatói</a:t>
          </a:r>
          <a:r>
            <a:rPr lang="hu-HU" sz="2400" b="0" smtClean="0"/>
            <a:t> </a:t>
          </a:r>
          <a:endParaRPr lang="hu-HU" sz="2400" dirty="0">
            <a:solidFill>
              <a:srgbClr val="000099"/>
            </a:solidFill>
          </a:endParaRPr>
        </a:p>
      </dgm:t>
    </dgm:pt>
    <dgm:pt modelId="{9B4AD84B-6FF5-4019-B087-D806D14D8969}" type="parTrans" cxnId="{099EC1F9-3FE1-4B42-8882-F896FEA92C49}">
      <dgm:prSet/>
      <dgm:spPr/>
      <dgm:t>
        <a:bodyPr/>
        <a:lstStyle/>
        <a:p>
          <a:endParaRPr lang="hu-HU"/>
        </a:p>
      </dgm:t>
    </dgm:pt>
    <dgm:pt modelId="{522E3723-5D12-4B6B-BAA0-2333A76AEDE6}" type="sibTrans" cxnId="{099EC1F9-3FE1-4B42-8882-F896FEA92C49}">
      <dgm:prSet/>
      <dgm:spPr/>
      <dgm:t>
        <a:bodyPr/>
        <a:lstStyle/>
        <a:p>
          <a:endParaRPr lang="hu-HU"/>
        </a:p>
      </dgm:t>
    </dgm:pt>
    <dgm:pt modelId="{9E3B3D17-64C3-4719-9175-022C583FB4F1}" type="pres">
      <dgm:prSet presAssocID="{090A1A72-92ED-42A8-B5F0-EDE0C02EF11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1CABDF57-29EB-4BEB-8980-2152E3E12187}" type="pres">
      <dgm:prSet presAssocID="{75B293C8-2DDA-44AD-AF79-B1ECC1933CB8}" presName="parentText" presStyleLbl="node1" presStyleIdx="0" presStyleCnt="9" custScaleX="100000" custScaleY="41526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E0B776E-3B9E-45B3-A5A2-7232A1312810}" type="pres">
      <dgm:prSet presAssocID="{9CDD403F-066E-46F0-97A4-E25270F88D07}" presName="spacer" presStyleCnt="0"/>
      <dgm:spPr/>
      <dgm:t>
        <a:bodyPr/>
        <a:lstStyle/>
        <a:p>
          <a:endParaRPr lang="hu-HU"/>
        </a:p>
      </dgm:t>
    </dgm:pt>
    <dgm:pt modelId="{05112D99-216A-485A-9082-66AC42666BC4}" type="pres">
      <dgm:prSet presAssocID="{B11894F9-D603-4768-87D2-CCA6D06C530B}" presName="parentText" presStyleLbl="node1" presStyleIdx="1" presStyleCnt="9" custScaleY="47459" custLinFactNeighborY="-24469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DCD32273-A1B9-4AC4-970A-4D6613A5F46E}" type="pres">
      <dgm:prSet presAssocID="{D611F94C-E9D1-4B17-940F-6E33C0B37B91}" presName="spacer" presStyleCnt="0"/>
      <dgm:spPr/>
      <dgm:t>
        <a:bodyPr/>
        <a:lstStyle/>
        <a:p>
          <a:endParaRPr lang="hu-HU"/>
        </a:p>
      </dgm:t>
    </dgm:pt>
    <dgm:pt modelId="{9372EAC2-9D22-4DB5-A3FC-5D563191A2A2}" type="pres">
      <dgm:prSet presAssocID="{044ED550-E348-4CA6-B21D-6B01907C9C73}" presName="parentText" presStyleLbl="node1" presStyleIdx="2" presStyleCnt="9" custScaleY="50422" custLinFactNeighborY="-16239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8083E4A-80CC-4015-9D3E-72CCBF560A05}" type="pres">
      <dgm:prSet presAssocID="{45551E6C-59F6-4681-9D3E-D44564C36601}" presName="spacer" presStyleCnt="0"/>
      <dgm:spPr/>
    </dgm:pt>
    <dgm:pt modelId="{A5111FDF-001E-4AC5-98AE-7A3B23B05335}" type="pres">
      <dgm:prSet presAssocID="{D2E9F229-266A-4158-A224-210F3546F1EB}" presName="parentText" presStyleLbl="node1" presStyleIdx="3" presStyleCnt="9" custScaleY="49446" custLinFactNeighborY="-27269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5AF3B14-4E3A-46A6-A481-8051E4472155}" type="pres">
      <dgm:prSet presAssocID="{6EEC4092-05EB-46AD-B587-B3A77D3C289D}" presName="spacer" presStyleCnt="0"/>
      <dgm:spPr/>
    </dgm:pt>
    <dgm:pt modelId="{683B4213-2E66-4A2C-8FF1-1CDB95ABDD10}" type="pres">
      <dgm:prSet presAssocID="{F759F017-886D-4401-AABC-8E55AB76489C}" presName="parentText" presStyleLbl="node1" presStyleIdx="4" presStyleCnt="9" custScaleY="46573" custLinFactNeighborY="-56870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86B097EF-ED60-4D5B-BDFA-58B6C909C31C}" type="pres">
      <dgm:prSet presAssocID="{522E3723-5D12-4B6B-BAA0-2333A76AEDE6}" presName="spacer" presStyleCnt="0"/>
      <dgm:spPr/>
    </dgm:pt>
    <dgm:pt modelId="{E636D8D1-85A2-49AA-B431-305E31DE91C5}" type="pres">
      <dgm:prSet presAssocID="{0FC642BE-8A2E-4F15-842E-93A2B56413E3}" presName="parentText" presStyleLbl="node1" presStyleIdx="5" presStyleCnt="9" custScaleY="52996" custLinFactNeighborY="-15179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1836787-8D64-4B9A-95F5-6EACF3789E34}" type="pres">
      <dgm:prSet presAssocID="{F5984EA9-1A3A-4B10-A0A8-9AB36F8CC219}" presName="spacer" presStyleCnt="0"/>
      <dgm:spPr/>
    </dgm:pt>
    <dgm:pt modelId="{5655CB04-E0DA-4754-AF89-D99D7E526A71}" type="pres">
      <dgm:prSet presAssocID="{E64CB2E1-D341-4033-B18F-5BF873B14C8C}" presName="parentText" presStyleLbl="node1" presStyleIdx="6" presStyleCnt="9" custScaleY="62112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C41892EC-62E6-4E96-BE4C-3505EDC68CD1}" type="pres">
      <dgm:prSet presAssocID="{139EA504-99CA-44FF-BB07-244EA964D8CE}" presName="spacer" presStyleCnt="0"/>
      <dgm:spPr/>
    </dgm:pt>
    <dgm:pt modelId="{2A03956C-4D1B-4B74-89F2-29C36C4B30ED}" type="pres">
      <dgm:prSet presAssocID="{B728EF97-FA8F-4C97-85A3-E865F7050C8D}" presName="parentText" presStyleLbl="node1" presStyleIdx="7" presStyleCnt="9" custScaleY="62681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8D67D8C5-EA1B-4F11-878D-6E9345C33566}" type="pres">
      <dgm:prSet presAssocID="{91F3E80E-876D-4938-8030-F063FB1C930D}" presName="spacer" presStyleCnt="0"/>
      <dgm:spPr/>
    </dgm:pt>
    <dgm:pt modelId="{BA391E8E-7748-4F0C-B545-39A268F11594}" type="pres">
      <dgm:prSet presAssocID="{28EDE338-6171-4963-A941-663447053BEB}" presName="parentText" presStyleLbl="node1" presStyleIdx="8" presStyleCnt="9" custScaleY="72193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333CB9F2-AF57-44C7-88C4-955ECBEB5F33}" srcId="{090A1A72-92ED-42A8-B5F0-EDE0C02EF11E}" destId="{B728EF97-FA8F-4C97-85A3-E865F7050C8D}" srcOrd="7" destOrd="0" parTransId="{726F3326-906F-48FD-82E7-BDDB12485F7D}" sibTransId="{91F3E80E-876D-4938-8030-F063FB1C930D}"/>
    <dgm:cxn modelId="{8BFCDCF8-187D-41D4-9C06-913DAB19B0F8}" type="presOf" srcId="{B728EF97-FA8F-4C97-85A3-E865F7050C8D}" destId="{2A03956C-4D1B-4B74-89F2-29C36C4B30ED}" srcOrd="0" destOrd="0" presId="urn:microsoft.com/office/officeart/2005/8/layout/vList2"/>
    <dgm:cxn modelId="{D223DB5C-8A59-4AA2-A6CB-65015196905D}" type="presOf" srcId="{D2E9F229-266A-4158-A224-210F3546F1EB}" destId="{A5111FDF-001E-4AC5-98AE-7A3B23B05335}" srcOrd="0" destOrd="0" presId="urn:microsoft.com/office/officeart/2005/8/layout/vList2"/>
    <dgm:cxn modelId="{94BCDC44-35A3-4EE6-A9B5-3AC6FFBB6E0D}" type="presOf" srcId="{F759F017-886D-4401-AABC-8E55AB76489C}" destId="{683B4213-2E66-4A2C-8FF1-1CDB95ABDD10}" srcOrd="0" destOrd="0" presId="urn:microsoft.com/office/officeart/2005/8/layout/vList2"/>
    <dgm:cxn modelId="{ACC778BD-D159-4571-916F-81357EBDDDBE}" srcId="{090A1A72-92ED-42A8-B5F0-EDE0C02EF11E}" destId="{E64CB2E1-D341-4033-B18F-5BF873B14C8C}" srcOrd="6" destOrd="0" parTransId="{2386BE1B-1ABF-47B6-8631-503D5B6849C7}" sibTransId="{139EA504-99CA-44FF-BB07-244EA964D8CE}"/>
    <dgm:cxn modelId="{17101E98-C9DD-49BF-A1C2-68F32A0DADA2}" type="presOf" srcId="{090A1A72-92ED-42A8-B5F0-EDE0C02EF11E}" destId="{9E3B3D17-64C3-4719-9175-022C583FB4F1}" srcOrd="0" destOrd="0" presId="urn:microsoft.com/office/officeart/2005/8/layout/vList2"/>
    <dgm:cxn modelId="{ED97632E-D43E-452C-9B42-D9EAF8FFC0FB}" srcId="{090A1A72-92ED-42A8-B5F0-EDE0C02EF11E}" destId="{044ED550-E348-4CA6-B21D-6B01907C9C73}" srcOrd="2" destOrd="0" parTransId="{75415DAA-FA47-4AED-ABF2-8EDA14E5109D}" sibTransId="{45551E6C-59F6-4681-9D3E-D44564C36601}"/>
    <dgm:cxn modelId="{089564CA-D766-4DC4-BC2B-17DE6D04F6E0}" type="presOf" srcId="{0FC642BE-8A2E-4F15-842E-93A2B56413E3}" destId="{E636D8D1-85A2-49AA-B431-305E31DE91C5}" srcOrd="0" destOrd="0" presId="urn:microsoft.com/office/officeart/2005/8/layout/vList2"/>
    <dgm:cxn modelId="{07478338-12CD-4155-BC22-588275F3B087}" srcId="{090A1A72-92ED-42A8-B5F0-EDE0C02EF11E}" destId="{0FC642BE-8A2E-4F15-842E-93A2B56413E3}" srcOrd="5" destOrd="0" parTransId="{35556131-2F39-4162-B822-361740C2D6F4}" sibTransId="{F5984EA9-1A3A-4B10-A0A8-9AB36F8CC219}"/>
    <dgm:cxn modelId="{C49CCE59-7EE6-4175-90E6-37B75FEAFCCA}" type="presOf" srcId="{75B293C8-2DDA-44AD-AF79-B1ECC1933CB8}" destId="{1CABDF57-29EB-4BEB-8980-2152E3E12187}" srcOrd="0" destOrd="0" presId="urn:microsoft.com/office/officeart/2005/8/layout/vList2"/>
    <dgm:cxn modelId="{927A6FC4-38EC-4E15-A030-C90CD1CE103D}" srcId="{090A1A72-92ED-42A8-B5F0-EDE0C02EF11E}" destId="{75B293C8-2DDA-44AD-AF79-B1ECC1933CB8}" srcOrd="0" destOrd="0" parTransId="{52A95FA1-F00A-40A6-810F-F6A501935ABD}" sibTransId="{9CDD403F-066E-46F0-97A4-E25270F88D07}"/>
    <dgm:cxn modelId="{08853305-7525-43ED-B6FF-4847FDE03E49}" srcId="{090A1A72-92ED-42A8-B5F0-EDE0C02EF11E}" destId="{D2E9F229-266A-4158-A224-210F3546F1EB}" srcOrd="3" destOrd="0" parTransId="{1CED4089-5B78-471E-BE3C-36C98651979B}" sibTransId="{6EEC4092-05EB-46AD-B587-B3A77D3C289D}"/>
    <dgm:cxn modelId="{9DACF5B6-FFD8-4DF4-A0ED-8B39C7C5017D}" type="presOf" srcId="{E64CB2E1-D341-4033-B18F-5BF873B14C8C}" destId="{5655CB04-E0DA-4754-AF89-D99D7E526A71}" srcOrd="0" destOrd="0" presId="urn:microsoft.com/office/officeart/2005/8/layout/vList2"/>
    <dgm:cxn modelId="{2F7B0BC0-6806-442C-BAB0-CFD890B18B85}" srcId="{090A1A72-92ED-42A8-B5F0-EDE0C02EF11E}" destId="{28EDE338-6171-4963-A941-663447053BEB}" srcOrd="8" destOrd="0" parTransId="{F29AEF04-4FF1-47C2-AC64-08B92085CAD0}" sibTransId="{A7B21F51-5B7C-418B-845C-CBBF7117F409}"/>
    <dgm:cxn modelId="{4E4E0588-869C-444C-A0A0-051777288971}" srcId="{090A1A72-92ED-42A8-B5F0-EDE0C02EF11E}" destId="{B11894F9-D603-4768-87D2-CCA6D06C530B}" srcOrd="1" destOrd="0" parTransId="{E379E19B-CC3A-4BFF-8857-EBE5A6C2218D}" sibTransId="{D611F94C-E9D1-4B17-940F-6E33C0B37B91}"/>
    <dgm:cxn modelId="{BFA211AA-33F0-4686-9B84-E4E11725D4BE}" type="presOf" srcId="{28EDE338-6171-4963-A941-663447053BEB}" destId="{BA391E8E-7748-4F0C-B545-39A268F11594}" srcOrd="0" destOrd="0" presId="urn:microsoft.com/office/officeart/2005/8/layout/vList2"/>
    <dgm:cxn modelId="{BA0A76FF-810A-4033-A5BE-ACE889F22436}" type="presOf" srcId="{044ED550-E348-4CA6-B21D-6B01907C9C73}" destId="{9372EAC2-9D22-4DB5-A3FC-5D563191A2A2}" srcOrd="0" destOrd="0" presId="urn:microsoft.com/office/officeart/2005/8/layout/vList2"/>
    <dgm:cxn modelId="{099EC1F9-3FE1-4B42-8882-F896FEA92C49}" srcId="{090A1A72-92ED-42A8-B5F0-EDE0C02EF11E}" destId="{F759F017-886D-4401-AABC-8E55AB76489C}" srcOrd="4" destOrd="0" parTransId="{9B4AD84B-6FF5-4019-B087-D806D14D8969}" sibTransId="{522E3723-5D12-4B6B-BAA0-2333A76AEDE6}"/>
    <dgm:cxn modelId="{B9D27811-E374-4E18-9C13-38B8E19D199E}" type="presOf" srcId="{B11894F9-D603-4768-87D2-CCA6D06C530B}" destId="{05112D99-216A-485A-9082-66AC42666BC4}" srcOrd="0" destOrd="0" presId="urn:microsoft.com/office/officeart/2005/8/layout/vList2"/>
    <dgm:cxn modelId="{9AFA3506-B826-419B-BA0C-A413C716EFCB}" type="presParOf" srcId="{9E3B3D17-64C3-4719-9175-022C583FB4F1}" destId="{1CABDF57-29EB-4BEB-8980-2152E3E12187}" srcOrd="0" destOrd="0" presId="urn:microsoft.com/office/officeart/2005/8/layout/vList2"/>
    <dgm:cxn modelId="{4508D3D3-73B4-49E0-A268-9C9087FB44E1}" type="presParOf" srcId="{9E3B3D17-64C3-4719-9175-022C583FB4F1}" destId="{3E0B776E-3B9E-45B3-A5A2-7232A1312810}" srcOrd="1" destOrd="0" presId="urn:microsoft.com/office/officeart/2005/8/layout/vList2"/>
    <dgm:cxn modelId="{8878931E-6C48-4F29-8650-6D0F50DDE22A}" type="presParOf" srcId="{9E3B3D17-64C3-4719-9175-022C583FB4F1}" destId="{05112D99-216A-485A-9082-66AC42666BC4}" srcOrd="2" destOrd="0" presId="urn:microsoft.com/office/officeart/2005/8/layout/vList2"/>
    <dgm:cxn modelId="{D9C1D7DC-13AA-4539-BF3D-B3697863D257}" type="presParOf" srcId="{9E3B3D17-64C3-4719-9175-022C583FB4F1}" destId="{DCD32273-A1B9-4AC4-970A-4D6613A5F46E}" srcOrd="3" destOrd="0" presId="urn:microsoft.com/office/officeart/2005/8/layout/vList2"/>
    <dgm:cxn modelId="{AC50C7FC-D87E-4253-B89A-A9536584C5D3}" type="presParOf" srcId="{9E3B3D17-64C3-4719-9175-022C583FB4F1}" destId="{9372EAC2-9D22-4DB5-A3FC-5D563191A2A2}" srcOrd="4" destOrd="0" presId="urn:microsoft.com/office/officeart/2005/8/layout/vList2"/>
    <dgm:cxn modelId="{A60860CF-880A-4529-B5D0-FB91489471E3}" type="presParOf" srcId="{9E3B3D17-64C3-4719-9175-022C583FB4F1}" destId="{98083E4A-80CC-4015-9D3E-72CCBF560A05}" srcOrd="5" destOrd="0" presId="urn:microsoft.com/office/officeart/2005/8/layout/vList2"/>
    <dgm:cxn modelId="{89ABD5AC-885B-434F-B127-7FEB8B31EFAA}" type="presParOf" srcId="{9E3B3D17-64C3-4719-9175-022C583FB4F1}" destId="{A5111FDF-001E-4AC5-98AE-7A3B23B05335}" srcOrd="6" destOrd="0" presId="urn:microsoft.com/office/officeart/2005/8/layout/vList2"/>
    <dgm:cxn modelId="{E1B17D67-6938-4FDF-87EA-3EA647F5851A}" type="presParOf" srcId="{9E3B3D17-64C3-4719-9175-022C583FB4F1}" destId="{25AF3B14-4E3A-46A6-A481-8051E4472155}" srcOrd="7" destOrd="0" presId="urn:microsoft.com/office/officeart/2005/8/layout/vList2"/>
    <dgm:cxn modelId="{CAD33A52-7E2A-40D7-9F26-E7CD9B1EEED0}" type="presParOf" srcId="{9E3B3D17-64C3-4719-9175-022C583FB4F1}" destId="{683B4213-2E66-4A2C-8FF1-1CDB95ABDD10}" srcOrd="8" destOrd="0" presId="urn:microsoft.com/office/officeart/2005/8/layout/vList2"/>
    <dgm:cxn modelId="{8D3EFA2A-45E8-43AA-822E-D95EEA9AE72D}" type="presParOf" srcId="{9E3B3D17-64C3-4719-9175-022C583FB4F1}" destId="{86B097EF-ED60-4D5B-BDFA-58B6C909C31C}" srcOrd="9" destOrd="0" presId="urn:microsoft.com/office/officeart/2005/8/layout/vList2"/>
    <dgm:cxn modelId="{479BBF01-5BBA-4531-9640-1703429EEE3D}" type="presParOf" srcId="{9E3B3D17-64C3-4719-9175-022C583FB4F1}" destId="{E636D8D1-85A2-49AA-B431-305E31DE91C5}" srcOrd="10" destOrd="0" presId="urn:microsoft.com/office/officeart/2005/8/layout/vList2"/>
    <dgm:cxn modelId="{A592EC73-E6CF-4599-A88E-7F91A2EC78DD}" type="presParOf" srcId="{9E3B3D17-64C3-4719-9175-022C583FB4F1}" destId="{F1836787-8D64-4B9A-95F5-6EACF3789E34}" srcOrd="11" destOrd="0" presId="urn:microsoft.com/office/officeart/2005/8/layout/vList2"/>
    <dgm:cxn modelId="{65D4CAEF-1948-44C7-83A6-E908A8B98562}" type="presParOf" srcId="{9E3B3D17-64C3-4719-9175-022C583FB4F1}" destId="{5655CB04-E0DA-4754-AF89-D99D7E526A71}" srcOrd="12" destOrd="0" presId="urn:microsoft.com/office/officeart/2005/8/layout/vList2"/>
    <dgm:cxn modelId="{274B5687-1CC3-47BF-BEC6-CB6824DAF1FA}" type="presParOf" srcId="{9E3B3D17-64C3-4719-9175-022C583FB4F1}" destId="{C41892EC-62E6-4E96-BE4C-3505EDC68CD1}" srcOrd="13" destOrd="0" presId="urn:microsoft.com/office/officeart/2005/8/layout/vList2"/>
    <dgm:cxn modelId="{12E9BFA7-C09E-4A08-BF78-FFB24A517E21}" type="presParOf" srcId="{9E3B3D17-64C3-4719-9175-022C583FB4F1}" destId="{2A03956C-4D1B-4B74-89F2-29C36C4B30ED}" srcOrd="14" destOrd="0" presId="urn:microsoft.com/office/officeart/2005/8/layout/vList2"/>
    <dgm:cxn modelId="{06082539-0A0C-4A6E-9545-8F904DC31124}" type="presParOf" srcId="{9E3B3D17-64C3-4719-9175-022C583FB4F1}" destId="{8D67D8C5-EA1B-4F11-878D-6E9345C33566}" srcOrd="15" destOrd="0" presId="urn:microsoft.com/office/officeart/2005/8/layout/vList2"/>
    <dgm:cxn modelId="{8BEE7BCE-DEA4-47A3-A00D-D8F812AD16B0}" type="presParOf" srcId="{9E3B3D17-64C3-4719-9175-022C583FB4F1}" destId="{BA391E8E-7748-4F0C-B545-39A268F11594}" srcOrd="1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9400C34-D0F0-4E55-9A85-C9B9AD4DE8C3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hu-HU"/>
        </a:p>
      </dgm:t>
    </dgm:pt>
    <dgm:pt modelId="{E80B13AF-E843-497D-A8C7-377F89FC82F6}">
      <dgm:prSet custT="1"/>
      <dgm:spPr>
        <a:solidFill>
          <a:srgbClr val="92D050"/>
        </a:solidFill>
      </dgm:spPr>
      <dgm:t>
        <a:bodyPr/>
        <a:lstStyle/>
        <a:p>
          <a:pPr algn="r" rtl="0"/>
          <a:r>
            <a:rPr lang="hu-HU" sz="1600" b="0" dirty="0" smtClean="0">
              <a:solidFill>
                <a:srgbClr val="000099"/>
              </a:solidFill>
            </a:rPr>
            <a:t>Európai kiterjesztés</a:t>
          </a:r>
          <a:endParaRPr lang="hu-HU" sz="1600" b="0" dirty="0">
            <a:solidFill>
              <a:srgbClr val="000099"/>
            </a:solidFill>
          </a:endParaRPr>
        </a:p>
      </dgm:t>
    </dgm:pt>
    <dgm:pt modelId="{45CF9C3A-B66E-48F2-80AE-EB2D02BBD498}" type="parTrans" cxnId="{93894E39-16F6-4CF5-9222-514B540DE7FA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A3E8E020-BA19-43C7-90F6-59F07E18D157}" type="sibTrans" cxnId="{93894E39-16F6-4CF5-9222-514B540DE7FA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2EC493CF-75A0-4789-87B3-6E0F6084A404}">
      <dgm:prSet custT="1"/>
      <dgm:spPr>
        <a:solidFill>
          <a:srgbClr val="3366FF"/>
        </a:solidFill>
      </dgm:spPr>
      <dgm:t>
        <a:bodyPr/>
        <a:lstStyle/>
        <a:p>
          <a:pPr rtl="0"/>
          <a:r>
            <a:rPr lang="hu-HU" sz="1600" b="0" dirty="0" smtClean="0">
              <a:solidFill>
                <a:srgbClr val="000099"/>
              </a:solidFill>
            </a:rPr>
            <a:t>Kibővített termékfelelősség-biztosítás</a:t>
          </a:r>
          <a:endParaRPr lang="hu-HU" sz="1600" b="0" dirty="0">
            <a:solidFill>
              <a:srgbClr val="000099"/>
            </a:solidFill>
          </a:endParaRPr>
        </a:p>
      </dgm:t>
    </dgm:pt>
    <dgm:pt modelId="{9D447254-0038-4DFD-A96C-3406535F759C}" type="parTrans" cxnId="{68BF2494-B12C-4883-B07E-F83D317F4878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9FE77E0F-7E0F-4438-A2FD-2E28F1CD0E76}" type="sibTrans" cxnId="{68BF2494-B12C-4883-B07E-F83D317F4878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283D7A8F-D56C-49D3-A18D-38F27E95E472}">
      <dgm:prSet custT="1"/>
      <dgm:spPr>
        <a:solidFill>
          <a:srgbClr val="00B0F0"/>
        </a:solidFill>
      </dgm:spPr>
      <dgm:t>
        <a:bodyPr/>
        <a:lstStyle/>
        <a:p>
          <a:pPr rtl="0"/>
          <a:r>
            <a:rPr lang="hu-HU" sz="1600" b="0" dirty="0" smtClean="0">
              <a:solidFill>
                <a:srgbClr val="000099"/>
              </a:solidFill>
            </a:rPr>
            <a:t>Szolgáltatás tárgyában okozott dologi károk</a:t>
          </a:r>
          <a:endParaRPr lang="hu-HU" sz="1600" b="0" dirty="0">
            <a:solidFill>
              <a:srgbClr val="000099"/>
            </a:solidFill>
          </a:endParaRPr>
        </a:p>
      </dgm:t>
    </dgm:pt>
    <dgm:pt modelId="{5E920604-08D3-4B05-939C-BADC4517487E}" type="parTrans" cxnId="{4144B1A5-5873-47E6-9C37-06B71F7A683F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6DEFAF89-D10B-4ACA-BA78-3A3EC19188FE}" type="sibTrans" cxnId="{4144B1A5-5873-47E6-9C37-06B71F7A683F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98D02385-0E24-4527-BB86-CB41912EEC1F}">
      <dgm:prSet custT="1"/>
      <dgm:spPr>
        <a:solidFill>
          <a:srgbClr val="00B0F0"/>
        </a:solidFill>
      </dgm:spPr>
      <dgm:t>
        <a:bodyPr/>
        <a:lstStyle/>
        <a:p>
          <a:pPr rtl="0"/>
          <a:r>
            <a:rPr lang="hu-HU" sz="1600" b="0" dirty="0" smtClean="0">
              <a:solidFill>
                <a:srgbClr val="000099"/>
              </a:solidFill>
            </a:rPr>
            <a:t>Építés-szerelési tevékenység</a:t>
          </a:r>
          <a:endParaRPr lang="hu-HU" sz="1600" b="0" dirty="0">
            <a:solidFill>
              <a:srgbClr val="000099"/>
            </a:solidFill>
          </a:endParaRPr>
        </a:p>
      </dgm:t>
    </dgm:pt>
    <dgm:pt modelId="{694BCAA7-65B2-4791-A5EF-D9408A0B6F8B}" type="parTrans" cxnId="{4D0F08B1-2BD7-4C80-866C-A0F8080DA525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BA9AD7E4-DD05-4363-B8D6-921B072008D2}" type="sibTrans" cxnId="{4D0F08B1-2BD7-4C80-866C-A0F8080DA525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D78B4E01-5B46-431A-A9E9-0513BF5C0940}">
      <dgm:prSet custT="1"/>
      <dgm:spPr>
        <a:solidFill>
          <a:srgbClr val="00B0F0"/>
        </a:solidFill>
      </dgm:spPr>
      <dgm:t>
        <a:bodyPr/>
        <a:lstStyle/>
        <a:p>
          <a:pPr rtl="0"/>
          <a:r>
            <a:rPr lang="hu-HU" sz="1600" b="0" dirty="0" smtClean="0">
              <a:solidFill>
                <a:srgbClr val="000099"/>
              </a:solidFill>
            </a:rPr>
            <a:t>Alvállalkozói fedezet</a:t>
          </a:r>
          <a:endParaRPr lang="hu-HU" sz="1600" b="0" dirty="0">
            <a:solidFill>
              <a:srgbClr val="000099"/>
            </a:solidFill>
          </a:endParaRPr>
        </a:p>
      </dgm:t>
    </dgm:pt>
    <dgm:pt modelId="{A5215945-E1B2-441C-B6CE-BB7013C30A6C}" type="parTrans" cxnId="{DF0BD6D2-F30A-4B4F-B57D-59D6B1C77332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331D37E8-A212-449C-91CC-1A6DA646B332}" type="sibTrans" cxnId="{DF0BD6D2-F30A-4B4F-B57D-59D6B1C77332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6855FDB1-0A30-490B-AA02-73753FCF2D2C}">
      <dgm:prSet custT="1"/>
      <dgm:spPr>
        <a:solidFill>
          <a:schemeClr val="accent5">
            <a:lumMod val="90000"/>
          </a:schemeClr>
        </a:solidFill>
      </dgm:spPr>
      <dgm:t>
        <a:bodyPr/>
        <a:lstStyle/>
        <a:p>
          <a:pPr rtl="0"/>
          <a:r>
            <a:rPr lang="hu-HU" sz="1600" b="0" dirty="0" smtClean="0">
              <a:solidFill>
                <a:srgbClr val="000099"/>
              </a:solidFill>
            </a:rPr>
            <a:t>Szállodai </a:t>
          </a:r>
          <a:r>
            <a:rPr lang="hu-HU" sz="1600" b="0" dirty="0" err="1" smtClean="0">
              <a:solidFill>
                <a:srgbClr val="000099"/>
              </a:solidFill>
            </a:rPr>
            <a:t>szolg</a:t>
          </a:r>
          <a:r>
            <a:rPr lang="hu-HU" sz="1600" b="0" dirty="0" smtClean="0">
              <a:solidFill>
                <a:srgbClr val="000099"/>
              </a:solidFill>
            </a:rPr>
            <a:t>. </a:t>
          </a:r>
          <a:r>
            <a:rPr lang="hu-HU" sz="1600" b="0" dirty="0" err="1" smtClean="0">
              <a:solidFill>
                <a:srgbClr val="000099"/>
              </a:solidFill>
            </a:rPr>
            <a:t>fel.bizt</a:t>
          </a:r>
          <a:r>
            <a:rPr lang="hu-HU" sz="1600" b="0" dirty="0" smtClean="0">
              <a:solidFill>
                <a:srgbClr val="000099"/>
              </a:solidFill>
            </a:rPr>
            <a:t>. </a:t>
          </a:r>
          <a:r>
            <a:rPr lang="hu-HU" sz="1600" b="0" dirty="0" err="1" smtClean="0">
              <a:solidFill>
                <a:srgbClr val="000099"/>
              </a:solidFill>
            </a:rPr>
            <a:t>kiterj</a:t>
          </a:r>
          <a:r>
            <a:rPr lang="hu-HU" sz="1600" b="0" dirty="0" smtClean="0">
              <a:solidFill>
                <a:srgbClr val="000099"/>
              </a:solidFill>
            </a:rPr>
            <a:t>. gépjárművek őrzésére</a:t>
          </a:r>
          <a:endParaRPr lang="hu-HU" sz="1600" b="0" dirty="0">
            <a:solidFill>
              <a:srgbClr val="000099"/>
            </a:solidFill>
          </a:endParaRPr>
        </a:p>
      </dgm:t>
    </dgm:pt>
    <dgm:pt modelId="{1913CE6B-17CA-44CC-A170-BDC5080976D1}" type="sibTrans" cxnId="{932EC16D-3660-40F5-9C34-5700AE9697C3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86DFD3F5-42C8-45BC-BDE5-9629DCD9AD6E}" type="parTrans" cxnId="{932EC16D-3660-40F5-9C34-5700AE9697C3}">
      <dgm:prSet/>
      <dgm:spPr/>
      <dgm:t>
        <a:bodyPr/>
        <a:lstStyle/>
        <a:p>
          <a:endParaRPr lang="hu-HU" sz="1700" b="0">
            <a:solidFill>
              <a:srgbClr val="000099"/>
            </a:solidFill>
          </a:endParaRPr>
        </a:p>
      </dgm:t>
    </dgm:pt>
    <dgm:pt modelId="{CBB1262C-CE54-4151-9CCE-DDA340F1B063}">
      <dgm:prSet custT="1"/>
      <dgm:spPr>
        <a:solidFill>
          <a:srgbClr val="00B0F0"/>
        </a:solidFill>
      </dgm:spPr>
      <dgm:t>
        <a:bodyPr/>
        <a:lstStyle/>
        <a:p>
          <a:pPr rtl="0"/>
          <a:r>
            <a:rPr lang="hu-HU" sz="1600" b="0" dirty="0" smtClean="0">
              <a:solidFill>
                <a:srgbClr val="000099"/>
              </a:solidFill>
            </a:rPr>
            <a:t>Idegen járművek fel- és lerakodása</a:t>
          </a:r>
          <a:endParaRPr lang="hu-HU" sz="1600" b="0" dirty="0">
            <a:solidFill>
              <a:srgbClr val="000099"/>
            </a:solidFill>
          </a:endParaRPr>
        </a:p>
      </dgm:t>
    </dgm:pt>
    <dgm:pt modelId="{D96263E0-CE8D-450D-8FB2-D295C4A4E5EF}" type="parTrans" cxnId="{39E6F310-AA18-4D8F-B6EA-059360343C3D}">
      <dgm:prSet/>
      <dgm:spPr/>
      <dgm:t>
        <a:bodyPr/>
        <a:lstStyle/>
        <a:p>
          <a:endParaRPr lang="hu-HU"/>
        </a:p>
      </dgm:t>
    </dgm:pt>
    <dgm:pt modelId="{7990CA45-B428-4AAB-A46A-46CB12BA0B98}" type="sibTrans" cxnId="{39E6F310-AA18-4D8F-B6EA-059360343C3D}">
      <dgm:prSet/>
      <dgm:spPr/>
      <dgm:t>
        <a:bodyPr/>
        <a:lstStyle/>
        <a:p>
          <a:endParaRPr lang="hu-HU"/>
        </a:p>
      </dgm:t>
    </dgm:pt>
    <dgm:pt modelId="{68B96B2F-D35F-47E5-A3C5-C2C6D2D8472F}" type="pres">
      <dgm:prSet presAssocID="{C9400C34-D0F0-4E55-9A85-C9B9AD4DE8C3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72322E5C-1DEF-4F70-A791-75CDBF7386FB}" type="pres">
      <dgm:prSet presAssocID="{283D7A8F-D56C-49D3-A18D-38F27E95E472}" presName="parentText" presStyleLbl="node1" presStyleIdx="0" presStyleCnt="7" custScaleY="24928" custLinFactNeighborX="1471" custLinFactNeighborY="-13719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8F986493-FA20-498E-ADC8-E47808F0138E}" type="pres">
      <dgm:prSet presAssocID="{6DEFAF89-D10B-4ACA-BA78-3A3EC19188FE}" presName="spacer" presStyleCnt="0"/>
      <dgm:spPr/>
      <dgm:t>
        <a:bodyPr/>
        <a:lstStyle/>
        <a:p>
          <a:endParaRPr lang="hu-HU"/>
        </a:p>
      </dgm:t>
    </dgm:pt>
    <dgm:pt modelId="{F522FF66-791D-45B1-9857-8AD89C33849D}" type="pres">
      <dgm:prSet presAssocID="{98D02385-0E24-4527-BB86-CB41912EEC1F}" presName="parentText" presStyleLbl="node1" presStyleIdx="1" presStyleCnt="7" custScaleY="22607" custLinFactNeighborY="-43459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0BDD1216-CEDA-4DB6-B370-CCEB34154673}" type="pres">
      <dgm:prSet presAssocID="{BA9AD7E4-DD05-4363-B8D6-921B072008D2}" presName="spacer" presStyleCnt="0"/>
      <dgm:spPr/>
      <dgm:t>
        <a:bodyPr/>
        <a:lstStyle/>
        <a:p>
          <a:endParaRPr lang="hu-HU"/>
        </a:p>
      </dgm:t>
    </dgm:pt>
    <dgm:pt modelId="{05713EBB-BD91-4A37-A1D0-AD882B129A4E}" type="pres">
      <dgm:prSet presAssocID="{D78B4E01-5B46-431A-A9E9-0513BF5C0940}" presName="parentText" presStyleLbl="node1" presStyleIdx="2" presStyleCnt="7" custScaleY="24758" custLinFactNeighborY="-78558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518294E-2EC9-43CA-8175-843A56664ED8}" type="pres">
      <dgm:prSet presAssocID="{331D37E8-A212-449C-91CC-1A6DA646B332}" presName="spacer" presStyleCnt="0"/>
      <dgm:spPr/>
      <dgm:t>
        <a:bodyPr/>
        <a:lstStyle/>
        <a:p>
          <a:endParaRPr lang="hu-HU"/>
        </a:p>
      </dgm:t>
    </dgm:pt>
    <dgm:pt modelId="{13E5FBF1-CF63-4CD8-9B64-EF2B85702018}" type="pres">
      <dgm:prSet presAssocID="{CBB1262C-CE54-4151-9CCE-DDA340F1B063}" presName="parentText" presStyleLbl="node1" presStyleIdx="3" presStyleCnt="7" custScaleY="28775" custLinFactNeighborY="-78558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1238B04-6E62-41BA-A627-169BFC1B1864}" type="pres">
      <dgm:prSet presAssocID="{7990CA45-B428-4AAB-A46A-46CB12BA0B98}" presName="spacer" presStyleCnt="0"/>
      <dgm:spPr/>
    </dgm:pt>
    <dgm:pt modelId="{7C271ABA-63A5-49A6-92C5-D5C72B89C5B7}" type="pres">
      <dgm:prSet presAssocID="{2EC493CF-75A0-4789-87B3-6E0F6084A404}" presName="parentText" presStyleLbl="node1" presStyleIdx="4" presStyleCnt="7" custScaleY="31337" custLinFactNeighborY="-22351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6D8C72CB-B031-4CFC-9C45-D9D486E20B47}" type="pres">
      <dgm:prSet presAssocID="{9FE77E0F-7E0F-4438-A2FD-2E28F1CD0E76}" presName="spacer" presStyleCnt="0"/>
      <dgm:spPr/>
      <dgm:t>
        <a:bodyPr/>
        <a:lstStyle/>
        <a:p>
          <a:endParaRPr lang="hu-HU"/>
        </a:p>
      </dgm:t>
    </dgm:pt>
    <dgm:pt modelId="{CE738F54-57F2-424B-A5F2-6D6E7762DE87}" type="pres">
      <dgm:prSet presAssocID="{6855FDB1-0A30-490B-AA02-73753FCF2D2C}" presName="parentText" presStyleLbl="node1" presStyleIdx="5" presStyleCnt="7" custScaleY="48077" custLinFactNeighborY="-5116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AE33A00-E3C2-495E-BA6A-9A993E2B72B1}" type="pres">
      <dgm:prSet presAssocID="{1913CE6B-17CA-44CC-A170-BDC5080976D1}" presName="spacer" presStyleCnt="0"/>
      <dgm:spPr/>
      <dgm:t>
        <a:bodyPr/>
        <a:lstStyle/>
        <a:p>
          <a:endParaRPr lang="hu-HU"/>
        </a:p>
      </dgm:t>
    </dgm:pt>
    <dgm:pt modelId="{974A5BE5-D813-4456-9EA4-6DAE465B9177}" type="pres">
      <dgm:prSet presAssocID="{E80B13AF-E843-497D-A8C7-377F89FC82F6}" presName="parentText" presStyleLbl="node1" presStyleIdx="6" presStyleCnt="7" custScaleY="48077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5CD0D4C8-FFBF-4BBE-839E-D216EEDC0F29}" type="presOf" srcId="{98D02385-0E24-4527-BB86-CB41912EEC1F}" destId="{F522FF66-791D-45B1-9857-8AD89C33849D}" srcOrd="0" destOrd="0" presId="urn:microsoft.com/office/officeart/2005/8/layout/vList2"/>
    <dgm:cxn modelId="{93894E39-16F6-4CF5-9222-514B540DE7FA}" srcId="{C9400C34-D0F0-4E55-9A85-C9B9AD4DE8C3}" destId="{E80B13AF-E843-497D-A8C7-377F89FC82F6}" srcOrd="6" destOrd="0" parTransId="{45CF9C3A-B66E-48F2-80AE-EB2D02BBD498}" sibTransId="{A3E8E020-BA19-43C7-90F6-59F07E18D157}"/>
    <dgm:cxn modelId="{68BF2494-B12C-4883-B07E-F83D317F4878}" srcId="{C9400C34-D0F0-4E55-9A85-C9B9AD4DE8C3}" destId="{2EC493CF-75A0-4789-87B3-6E0F6084A404}" srcOrd="4" destOrd="0" parTransId="{9D447254-0038-4DFD-A96C-3406535F759C}" sibTransId="{9FE77E0F-7E0F-4438-A2FD-2E28F1CD0E76}"/>
    <dgm:cxn modelId="{3A1A9BA6-3314-4D7C-8271-8A753C6B91AE}" type="presOf" srcId="{6855FDB1-0A30-490B-AA02-73753FCF2D2C}" destId="{CE738F54-57F2-424B-A5F2-6D6E7762DE87}" srcOrd="0" destOrd="0" presId="urn:microsoft.com/office/officeart/2005/8/layout/vList2"/>
    <dgm:cxn modelId="{823D2B7A-264E-4A27-B96F-7EBA4F7509F8}" type="presOf" srcId="{E80B13AF-E843-497D-A8C7-377F89FC82F6}" destId="{974A5BE5-D813-4456-9EA4-6DAE465B9177}" srcOrd="0" destOrd="0" presId="urn:microsoft.com/office/officeart/2005/8/layout/vList2"/>
    <dgm:cxn modelId="{DBBAA33F-AD6F-4BCA-A89F-EBDA0BF871A4}" type="presOf" srcId="{C9400C34-D0F0-4E55-9A85-C9B9AD4DE8C3}" destId="{68B96B2F-D35F-47E5-A3C5-C2C6D2D8472F}" srcOrd="0" destOrd="0" presId="urn:microsoft.com/office/officeart/2005/8/layout/vList2"/>
    <dgm:cxn modelId="{DF0BD6D2-F30A-4B4F-B57D-59D6B1C77332}" srcId="{C9400C34-D0F0-4E55-9A85-C9B9AD4DE8C3}" destId="{D78B4E01-5B46-431A-A9E9-0513BF5C0940}" srcOrd="2" destOrd="0" parTransId="{A5215945-E1B2-441C-B6CE-BB7013C30A6C}" sibTransId="{331D37E8-A212-449C-91CC-1A6DA646B332}"/>
    <dgm:cxn modelId="{932EC16D-3660-40F5-9C34-5700AE9697C3}" srcId="{C9400C34-D0F0-4E55-9A85-C9B9AD4DE8C3}" destId="{6855FDB1-0A30-490B-AA02-73753FCF2D2C}" srcOrd="5" destOrd="0" parTransId="{86DFD3F5-42C8-45BC-BDE5-9629DCD9AD6E}" sibTransId="{1913CE6B-17CA-44CC-A170-BDC5080976D1}"/>
    <dgm:cxn modelId="{88FBD48F-199A-4B4D-9C20-C34019DDBC11}" type="presOf" srcId="{283D7A8F-D56C-49D3-A18D-38F27E95E472}" destId="{72322E5C-1DEF-4F70-A791-75CDBF7386FB}" srcOrd="0" destOrd="0" presId="urn:microsoft.com/office/officeart/2005/8/layout/vList2"/>
    <dgm:cxn modelId="{A5F4CD5B-D7C6-4C6C-A9A5-C7A76120C05D}" type="presOf" srcId="{2EC493CF-75A0-4789-87B3-6E0F6084A404}" destId="{7C271ABA-63A5-49A6-92C5-D5C72B89C5B7}" srcOrd="0" destOrd="0" presId="urn:microsoft.com/office/officeart/2005/8/layout/vList2"/>
    <dgm:cxn modelId="{746C02B8-FFF2-481B-B7F5-F6714E62D200}" type="presOf" srcId="{CBB1262C-CE54-4151-9CCE-DDA340F1B063}" destId="{13E5FBF1-CF63-4CD8-9B64-EF2B85702018}" srcOrd="0" destOrd="0" presId="urn:microsoft.com/office/officeart/2005/8/layout/vList2"/>
    <dgm:cxn modelId="{4D0F08B1-2BD7-4C80-866C-A0F8080DA525}" srcId="{C9400C34-D0F0-4E55-9A85-C9B9AD4DE8C3}" destId="{98D02385-0E24-4527-BB86-CB41912EEC1F}" srcOrd="1" destOrd="0" parTransId="{694BCAA7-65B2-4791-A5EF-D9408A0B6F8B}" sibTransId="{BA9AD7E4-DD05-4363-B8D6-921B072008D2}"/>
    <dgm:cxn modelId="{4144B1A5-5873-47E6-9C37-06B71F7A683F}" srcId="{C9400C34-D0F0-4E55-9A85-C9B9AD4DE8C3}" destId="{283D7A8F-D56C-49D3-A18D-38F27E95E472}" srcOrd="0" destOrd="0" parTransId="{5E920604-08D3-4B05-939C-BADC4517487E}" sibTransId="{6DEFAF89-D10B-4ACA-BA78-3A3EC19188FE}"/>
    <dgm:cxn modelId="{39E6F310-AA18-4D8F-B6EA-059360343C3D}" srcId="{C9400C34-D0F0-4E55-9A85-C9B9AD4DE8C3}" destId="{CBB1262C-CE54-4151-9CCE-DDA340F1B063}" srcOrd="3" destOrd="0" parTransId="{D96263E0-CE8D-450D-8FB2-D295C4A4E5EF}" sibTransId="{7990CA45-B428-4AAB-A46A-46CB12BA0B98}"/>
    <dgm:cxn modelId="{96208759-2E2A-46FE-968B-AF1C5D607957}" type="presOf" srcId="{D78B4E01-5B46-431A-A9E9-0513BF5C0940}" destId="{05713EBB-BD91-4A37-A1D0-AD882B129A4E}" srcOrd="0" destOrd="0" presId="urn:microsoft.com/office/officeart/2005/8/layout/vList2"/>
    <dgm:cxn modelId="{B22FE094-1F78-4946-AD47-D88A14B2A31F}" type="presParOf" srcId="{68B96B2F-D35F-47E5-A3C5-C2C6D2D8472F}" destId="{72322E5C-1DEF-4F70-A791-75CDBF7386FB}" srcOrd="0" destOrd="0" presId="urn:microsoft.com/office/officeart/2005/8/layout/vList2"/>
    <dgm:cxn modelId="{163F8FFF-B736-407E-A35B-9AC451CCB43D}" type="presParOf" srcId="{68B96B2F-D35F-47E5-A3C5-C2C6D2D8472F}" destId="{8F986493-FA20-498E-ADC8-E47808F0138E}" srcOrd="1" destOrd="0" presId="urn:microsoft.com/office/officeart/2005/8/layout/vList2"/>
    <dgm:cxn modelId="{B59B1AED-A57A-4E0B-84EF-7838CD7C149D}" type="presParOf" srcId="{68B96B2F-D35F-47E5-A3C5-C2C6D2D8472F}" destId="{F522FF66-791D-45B1-9857-8AD89C33849D}" srcOrd="2" destOrd="0" presId="urn:microsoft.com/office/officeart/2005/8/layout/vList2"/>
    <dgm:cxn modelId="{2BB7BADB-2FF5-4D4C-8E9F-29D6E2AD74E6}" type="presParOf" srcId="{68B96B2F-D35F-47E5-A3C5-C2C6D2D8472F}" destId="{0BDD1216-CEDA-4DB6-B370-CCEB34154673}" srcOrd="3" destOrd="0" presId="urn:microsoft.com/office/officeart/2005/8/layout/vList2"/>
    <dgm:cxn modelId="{16B69333-BD3A-4FE8-B81B-D8A57332B3FB}" type="presParOf" srcId="{68B96B2F-D35F-47E5-A3C5-C2C6D2D8472F}" destId="{05713EBB-BD91-4A37-A1D0-AD882B129A4E}" srcOrd="4" destOrd="0" presId="urn:microsoft.com/office/officeart/2005/8/layout/vList2"/>
    <dgm:cxn modelId="{2879C697-AD3E-44B9-B310-E63CCD75E360}" type="presParOf" srcId="{68B96B2F-D35F-47E5-A3C5-C2C6D2D8472F}" destId="{9518294E-2EC9-43CA-8175-843A56664ED8}" srcOrd="5" destOrd="0" presId="urn:microsoft.com/office/officeart/2005/8/layout/vList2"/>
    <dgm:cxn modelId="{12D3C536-A691-47A2-91A0-34372249B135}" type="presParOf" srcId="{68B96B2F-D35F-47E5-A3C5-C2C6D2D8472F}" destId="{13E5FBF1-CF63-4CD8-9B64-EF2B85702018}" srcOrd="6" destOrd="0" presId="urn:microsoft.com/office/officeart/2005/8/layout/vList2"/>
    <dgm:cxn modelId="{EC02EA39-9763-4905-95E8-87F37BA11E5C}" type="presParOf" srcId="{68B96B2F-D35F-47E5-A3C5-C2C6D2D8472F}" destId="{F1238B04-6E62-41BA-A627-169BFC1B1864}" srcOrd="7" destOrd="0" presId="urn:microsoft.com/office/officeart/2005/8/layout/vList2"/>
    <dgm:cxn modelId="{37FB2E81-3D50-4007-955D-2E83E56A40A9}" type="presParOf" srcId="{68B96B2F-D35F-47E5-A3C5-C2C6D2D8472F}" destId="{7C271ABA-63A5-49A6-92C5-D5C72B89C5B7}" srcOrd="8" destOrd="0" presId="urn:microsoft.com/office/officeart/2005/8/layout/vList2"/>
    <dgm:cxn modelId="{A89CE31B-62B8-43F2-B49A-2F42189F8EB0}" type="presParOf" srcId="{68B96B2F-D35F-47E5-A3C5-C2C6D2D8472F}" destId="{6D8C72CB-B031-4CFC-9C45-D9D486E20B47}" srcOrd="9" destOrd="0" presId="urn:microsoft.com/office/officeart/2005/8/layout/vList2"/>
    <dgm:cxn modelId="{CF5E24C2-B998-4693-A0F7-9E6EDB8DF487}" type="presParOf" srcId="{68B96B2F-D35F-47E5-A3C5-C2C6D2D8472F}" destId="{CE738F54-57F2-424B-A5F2-6D6E7762DE87}" srcOrd="10" destOrd="0" presId="urn:microsoft.com/office/officeart/2005/8/layout/vList2"/>
    <dgm:cxn modelId="{4926016C-DBC2-4CE4-B596-C40B30C503CD}" type="presParOf" srcId="{68B96B2F-D35F-47E5-A3C5-C2C6D2D8472F}" destId="{9AE33A00-E3C2-495E-BA6A-9A993E2B72B1}" srcOrd="11" destOrd="0" presId="urn:microsoft.com/office/officeart/2005/8/layout/vList2"/>
    <dgm:cxn modelId="{14369E71-A9EC-4B5A-B2A0-36EC7C779555}" type="presParOf" srcId="{68B96B2F-D35F-47E5-A3C5-C2C6D2D8472F}" destId="{974A5BE5-D813-4456-9EA4-6DAE465B9177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A242405-D7F9-4D04-9269-7505D041506D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hu-HU"/>
        </a:p>
      </dgm:t>
    </dgm:pt>
    <dgm:pt modelId="{95AF210C-5B01-4228-8069-243DD6908DB7}">
      <dgm:prSet custT="1"/>
      <dgm:spPr>
        <a:solidFill>
          <a:srgbClr val="A7BCFF"/>
        </a:solidFill>
      </dgm:spPr>
      <dgm:t>
        <a:bodyPr/>
        <a:lstStyle/>
        <a:p>
          <a:pPr algn="ctr" rtl="0"/>
          <a:r>
            <a:rPr lang="hu-HU" sz="2400" b="1" i="0" dirty="0" smtClean="0">
              <a:solidFill>
                <a:srgbClr val="000099"/>
              </a:solidFill>
            </a:rPr>
            <a:t>Választható limitek</a:t>
          </a:r>
          <a:r>
            <a:rPr lang="hu-HU" sz="2400" dirty="0" smtClean="0">
              <a:solidFill>
                <a:srgbClr val="000099"/>
              </a:solidFill>
            </a:rPr>
            <a:t> (kombinált):</a:t>
          </a:r>
          <a:endParaRPr lang="hu-HU" sz="2400" dirty="0">
            <a:solidFill>
              <a:srgbClr val="000099"/>
            </a:solidFill>
          </a:endParaRPr>
        </a:p>
      </dgm:t>
    </dgm:pt>
    <dgm:pt modelId="{F281448D-9EDE-4644-8BD5-86F991AC2CF4}" type="parTrans" cxnId="{E35B4ECA-2098-4173-9FD4-C3BFCC494D90}">
      <dgm:prSet/>
      <dgm:spPr/>
      <dgm:t>
        <a:bodyPr/>
        <a:lstStyle/>
        <a:p>
          <a:endParaRPr lang="hu-HU"/>
        </a:p>
      </dgm:t>
    </dgm:pt>
    <dgm:pt modelId="{02FACD3F-254D-49A6-8F80-39ED09D4B78F}" type="sibTrans" cxnId="{E35B4ECA-2098-4173-9FD4-C3BFCC494D90}">
      <dgm:prSet/>
      <dgm:spPr/>
      <dgm:t>
        <a:bodyPr/>
        <a:lstStyle/>
        <a:p>
          <a:endParaRPr lang="hu-HU"/>
        </a:p>
      </dgm:t>
    </dgm:pt>
    <dgm:pt modelId="{326327B4-0ACC-4E85-8FFC-2F41EAC60775}" type="pres">
      <dgm:prSet presAssocID="{AA242405-D7F9-4D04-9269-7505D041506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0AFB77DC-89EE-4694-9DEF-A2A061C86D17}" type="pres">
      <dgm:prSet presAssocID="{95AF210C-5B01-4228-8069-243DD6908DB7}" presName="parentText" presStyleLbl="node1" presStyleIdx="0" presStyleCnt="1" custLinFactNeighborY="-3975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47F9628A-554A-4D18-82CD-79479CAD51FB}" type="presOf" srcId="{AA242405-D7F9-4D04-9269-7505D041506D}" destId="{326327B4-0ACC-4E85-8FFC-2F41EAC60775}" srcOrd="0" destOrd="0" presId="urn:microsoft.com/office/officeart/2005/8/layout/vList2"/>
    <dgm:cxn modelId="{3A8CB244-5B08-4A3F-9880-574A6C8F5FB8}" type="presOf" srcId="{95AF210C-5B01-4228-8069-243DD6908DB7}" destId="{0AFB77DC-89EE-4694-9DEF-A2A061C86D17}" srcOrd="0" destOrd="0" presId="urn:microsoft.com/office/officeart/2005/8/layout/vList2"/>
    <dgm:cxn modelId="{E35B4ECA-2098-4173-9FD4-C3BFCC494D90}" srcId="{AA242405-D7F9-4D04-9269-7505D041506D}" destId="{95AF210C-5B01-4228-8069-243DD6908DB7}" srcOrd="0" destOrd="0" parTransId="{F281448D-9EDE-4644-8BD5-86F991AC2CF4}" sibTransId="{02FACD3F-254D-49A6-8F80-39ED09D4B78F}"/>
    <dgm:cxn modelId="{A75CCC65-5A40-47B8-8874-3FBAA20ED1A7}" type="presParOf" srcId="{326327B4-0ACC-4E85-8FFC-2F41EAC60775}" destId="{0AFB77DC-89EE-4694-9DEF-A2A061C86D17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DB5E04B-5A13-4A61-B5E2-38331E860C72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hu-HU"/>
        </a:p>
      </dgm:t>
    </dgm:pt>
    <dgm:pt modelId="{72CEC8D1-238D-4EE3-802E-91668AAC8564}">
      <dgm:prSet custT="1"/>
      <dgm:spPr>
        <a:solidFill>
          <a:srgbClr val="A7BCFF"/>
        </a:solidFill>
      </dgm:spPr>
      <dgm:t>
        <a:bodyPr/>
        <a:lstStyle/>
        <a:p>
          <a:pPr algn="ctr" rtl="0"/>
          <a:r>
            <a:rPr lang="hu-HU" sz="2400" b="0" dirty="0" smtClean="0">
              <a:solidFill>
                <a:srgbClr val="000099"/>
              </a:solidFill>
            </a:rPr>
            <a:t>Csomagok / Kártérítési limitek</a:t>
          </a:r>
        </a:p>
        <a:p>
          <a:pPr algn="ctr" rtl="0"/>
          <a:r>
            <a:rPr lang="hu-HU" sz="2200" dirty="0" smtClean="0">
              <a:solidFill>
                <a:srgbClr val="000099"/>
              </a:solidFill>
            </a:rPr>
            <a:t>Épület+ingóság vagy ingóság biztosítás mellé köthető</a:t>
          </a:r>
          <a:endParaRPr lang="hu-HU" sz="2200" dirty="0">
            <a:solidFill>
              <a:srgbClr val="000099"/>
            </a:solidFill>
          </a:endParaRPr>
        </a:p>
      </dgm:t>
    </dgm:pt>
    <dgm:pt modelId="{B32A804D-68C2-429F-926C-9CFAE3C04E23}" type="parTrans" cxnId="{E27CBB65-A33D-45E8-B263-369E0264DF02}">
      <dgm:prSet/>
      <dgm:spPr/>
      <dgm:t>
        <a:bodyPr/>
        <a:lstStyle/>
        <a:p>
          <a:endParaRPr lang="hu-HU"/>
        </a:p>
      </dgm:t>
    </dgm:pt>
    <dgm:pt modelId="{9F7972C6-6117-4F22-B7E9-F89C4BA2AA55}" type="sibTrans" cxnId="{E27CBB65-A33D-45E8-B263-369E0264DF02}">
      <dgm:prSet/>
      <dgm:spPr/>
      <dgm:t>
        <a:bodyPr/>
        <a:lstStyle/>
        <a:p>
          <a:endParaRPr lang="hu-HU"/>
        </a:p>
      </dgm:t>
    </dgm:pt>
    <dgm:pt modelId="{E8D3A2B8-7203-42A3-B9F9-91630EF5493E}" type="pres">
      <dgm:prSet presAssocID="{CDB5E04B-5A13-4A61-B5E2-38331E860C7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036AC730-6235-4D83-B184-F5A362C4C7D3}" type="pres">
      <dgm:prSet presAssocID="{72CEC8D1-238D-4EE3-802E-91668AAC8564}" presName="parentText" presStyleLbl="node1" presStyleIdx="0" presStyleCnt="1" custScaleY="71598" custLinFactNeighborY="-1829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E27CBB65-A33D-45E8-B263-369E0264DF02}" srcId="{CDB5E04B-5A13-4A61-B5E2-38331E860C72}" destId="{72CEC8D1-238D-4EE3-802E-91668AAC8564}" srcOrd="0" destOrd="0" parTransId="{B32A804D-68C2-429F-926C-9CFAE3C04E23}" sibTransId="{9F7972C6-6117-4F22-B7E9-F89C4BA2AA55}"/>
    <dgm:cxn modelId="{AB44CF4D-48A9-4162-88FF-212107D1919F}" type="presOf" srcId="{72CEC8D1-238D-4EE3-802E-91668AAC8564}" destId="{036AC730-6235-4D83-B184-F5A362C4C7D3}" srcOrd="0" destOrd="0" presId="urn:microsoft.com/office/officeart/2005/8/layout/vList2"/>
    <dgm:cxn modelId="{BA389965-749D-4322-B544-5BFFD21CAECD}" type="presOf" srcId="{CDB5E04B-5A13-4A61-B5E2-38331E860C72}" destId="{E8D3A2B8-7203-42A3-B9F9-91630EF5493E}" srcOrd="0" destOrd="0" presId="urn:microsoft.com/office/officeart/2005/8/layout/vList2"/>
    <dgm:cxn modelId="{D31C5415-AA0D-40B7-8B4B-D9097F80B23B}" type="presParOf" srcId="{E8D3A2B8-7203-42A3-B9F9-91630EF5493E}" destId="{036AC730-6235-4D83-B184-F5A362C4C7D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6E6924C-773B-40FE-A0A4-74DC77ACFCDA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hu-HU"/>
        </a:p>
      </dgm:t>
    </dgm:pt>
    <dgm:pt modelId="{C79751C1-78DB-4278-BD9F-C4D87A1C50AF}">
      <dgm:prSet custT="1"/>
      <dgm:spPr>
        <a:noFill/>
        <a:ln>
          <a:noFill/>
        </a:ln>
      </dgm:spPr>
      <dgm:t>
        <a:bodyPr/>
        <a:lstStyle/>
        <a:p>
          <a:pPr rtl="0"/>
          <a:endParaRPr lang="hu-HU" sz="2400" dirty="0" smtClean="0">
            <a:solidFill>
              <a:srgbClr val="000099"/>
            </a:solidFill>
          </a:endParaRPr>
        </a:p>
        <a:p>
          <a:pPr rtl="0"/>
          <a:r>
            <a:rPr lang="hu-HU" sz="2400" dirty="0" smtClean="0">
              <a:solidFill>
                <a:srgbClr val="000099"/>
              </a:solidFill>
            </a:rPr>
            <a:t>Saját, bérelt (kölcsönvett, lízingelt, kipróbálásra átvett), </a:t>
          </a:r>
          <a:r>
            <a:rPr lang="hu-HU" sz="2400" b="1" dirty="0" smtClean="0">
              <a:solidFill>
                <a:srgbClr val="000099"/>
              </a:solidFill>
            </a:rPr>
            <a:t>számítógépek és számítógép vezérlésű berendezések </a:t>
          </a:r>
          <a:r>
            <a:rPr lang="hu-HU" sz="2400" b="0" dirty="0" smtClean="0">
              <a:solidFill>
                <a:srgbClr val="000099"/>
              </a:solidFill>
            </a:rPr>
            <a:t>(pl. </a:t>
          </a:r>
          <a:r>
            <a:rPr lang="hu-HU" sz="2400" b="0" dirty="0" err="1" smtClean="0">
              <a:solidFill>
                <a:srgbClr val="000099"/>
              </a:solidFill>
            </a:rPr>
            <a:t>légkondícionáló</a:t>
          </a:r>
          <a:r>
            <a:rPr lang="hu-HU" sz="2400" b="0" dirty="0" smtClean="0">
              <a:solidFill>
                <a:srgbClr val="000099"/>
              </a:solidFill>
            </a:rPr>
            <a:t>, orvosi műszerek, fényreklámok) – lista (</a:t>
          </a:r>
          <a:r>
            <a:rPr lang="hu-HU" sz="2400" b="0" dirty="0" err="1" smtClean="0">
              <a:solidFill>
                <a:srgbClr val="000099"/>
              </a:solidFill>
            </a:rPr>
            <a:t>kiv</a:t>
          </a:r>
          <a:r>
            <a:rPr lang="hu-HU" sz="2400" b="0" dirty="0" smtClean="0">
              <a:solidFill>
                <a:srgbClr val="000099"/>
              </a:solidFill>
            </a:rPr>
            <a:t>. számítógépek, ezekről elegendő az összesítő kitöltése)</a:t>
          </a:r>
          <a:endParaRPr lang="hu-HU" sz="2400" b="0" dirty="0">
            <a:solidFill>
              <a:srgbClr val="000099"/>
            </a:solidFill>
          </a:endParaRPr>
        </a:p>
      </dgm:t>
    </dgm:pt>
    <dgm:pt modelId="{98691268-5AE1-43E5-8C73-2A78685AB9AF}" type="parTrans" cxnId="{1E0FF699-FCBC-421A-970E-3604DA12B587}">
      <dgm:prSet/>
      <dgm:spPr/>
      <dgm:t>
        <a:bodyPr/>
        <a:lstStyle/>
        <a:p>
          <a:endParaRPr lang="hu-HU"/>
        </a:p>
      </dgm:t>
    </dgm:pt>
    <dgm:pt modelId="{AF760D64-E84E-4CC4-9236-B3EDFFEACF0D}" type="sibTrans" cxnId="{1E0FF699-FCBC-421A-970E-3604DA12B587}">
      <dgm:prSet/>
      <dgm:spPr/>
      <dgm:t>
        <a:bodyPr/>
        <a:lstStyle/>
        <a:p>
          <a:endParaRPr lang="hu-HU"/>
        </a:p>
      </dgm:t>
    </dgm:pt>
    <dgm:pt modelId="{D0BBB3E4-2A94-45A1-BA29-03812C535AB7}">
      <dgm:prSet custT="1"/>
      <dgm:spPr>
        <a:noFill/>
        <a:ln>
          <a:noFill/>
        </a:ln>
      </dgm:spPr>
      <dgm:t>
        <a:bodyPr/>
        <a:lstStyle/>
        <a:p>
          <a:pPr rtl="0"/>
          <a:r>
            <a:rPr lang="hu-HU" sz="2000" b="1" dirty="0" smtClean="0">
              <a:solidFill>
                <a:srgbClr val="FF0000"/>
              </a:solidFill>
              <a:latin typeface="+mn-lt"/>
            </a:rPr>
            <a:t>Biztosítási események: </a:t>
          </a:r>
          <a:br>
            <a:rPr lang="hu-HU" sz="2000" b="1" dirty="0" smtClean="0">
              <a:solidFill>
                <a:srgbClr val="FF0000"/>
              </a:solidFill>
              <a:latin typeface="+mn-lt"/>
            </a:rPr>
          </a:br>
          <a:r>
            <a:rPr lang="hu-HU" sz="2000" b="1" dirty="0" smtClean="0">
              <a:solidFill>
                <a:srgbClr val="FF0000"/>
              </a:solidFill>
              <a:latin typeface="+mn-lt"/>
            </a:rPr>
            <a:t>- </a:t>
          </a:r>
          <a:r>
            <a:rPr lang="hu-HU" sz="2000" b="1" i="0" u="none" strike="noStrike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kezelési hiba, ügyetlenség, gondatlanság</a:t>
          </a:r>
          <a:br>
            <a:rPr lang="hu-HU" sz="2000" b="1" i="0" u="none" strike="noStrike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</a:br>
          <a:r>
            <a:rPr lang="hu-HU" sz="2000" b="1" i="0" u="none" strike="noStrike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- külső, mechanikusan ható erőszak,</a:t>
          </a:r>
          <a:br>
            <a:rPr lang="hu-HU" sz="2000" b="1" i="0" u="none" strike="noStrike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</a:br>
          <a:r>
            <a:rPr lang="hu-HU" sz="2000" b="1" i="0" u="none" strike="noStrike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- leejtés, idegen tárgy ráejtése vagy ütközése</a:t>
          </a:r>
          <a:br>
            <a:rPr lang="hu-HU" sz="2000" b="1" i="0" u="none" strike="noStrike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</a:br>
          <a:r>
            <a:rPr lang="hu-HU" sz="2000" b="1" i="0" u="none" strike="noStrike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- földzárlat, rövidzárlat, az áramerősség túlzott megnövekedése, </a:t>
          </a:r>
          <a:br>
            <a:rPr lang="hu-HU" sz="2000" b="1" i="0" u="none" strike="noStrike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</a:br>
          <a:r>
            <a:rPr lang="hu-HU" sz="2000" b="1" i="0" u="none" strike="noStrike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  átívelés, fényívek képződése</a:t>
          </a:r>
          <a:endParaRPr lang="hu-HU" sz="2000" b="1" dirty="0">
            <a:solidFill>
              <a:srgbClr val="FF0000"/>
            </a:solidFill>
            <a:latin typeface="+mn-lt"/>
          </a:endParaRPr>
        </a:p>
      </dgm:t>
    </dgm:pt>
    <dgm:pt modelId="{E0EB3990-28CC-4CED-9DE6-919B0C7E1478}" type="parTrans" cxnId="{CEDF833E-0443-4CF4-B66A-2D545E3A7FE1}">
      <dgm:prSet/>
      <dgm:spPr/>
      <dgm:t>
        <a:bodyPr/>
        <a:lstStyle/>
        <a:p>
          <a:endParaRPr lang="hu-HU"/>
        </a:p>
      </dgm:t>
    </dgm:pt>
    <dgm:pt modelId="{A0A9CEC9-7D24-41CE-B302-36DB079487D1}" type="sibTrans" cxnId="{CEDF833E-0443-4CF4-B66A-2D545E3A7FE1}">
      <dgm:prSet/>
      <dgm:spPr/>
      <dgm:t>
        <a:bodyPr/>
        <a:lstStyle/>
        <a:p>
          <a:endParaRPr lang="hu-HU"/>
        </a:p>
      </dgm:t>
    </dgm:pt>
    <dgm:pt modelId="{0E4C5470-509E-4AE7-900D-558DBE74E1C8}" type="pres">
      <dgm:prSet presAssocID="{36E6924C-773B-40FE-A0A4-74DC77ACFCD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8658EDFA-C949-4F2F-91FA-2D8E2944BA9B}" type="pres">
      <dgm:prSet presAssocID="{C79751C1-78DB-4278-BD9F-C4D87A1C50AF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EA05A1A-C0DF-4194-98A4-216C058A2694}" type="pres">
      <dgm:prSet presAssocID="{AF760D64-E84E-4CC4-9236-B3EDFFEACF0D}" presName="spacer" presStyleCnt="0"/>
      <dgm:spPr/>
    </dgm:pt>
    <dgm:pt modelId="{F5BCEDF9-FF2D-41A6-A7D5-F561DD9C9EE1}" type="pres">
      <dgm:prSet presAssocID="{D0BBB3E4-2A94-45A1-BA29-03812C535AB7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1E0FF699-FCBC-421A-970E-3604DA12B587}" srcId="{36E6924C-773B-40FE-A0A4-74DC77ACFCDA}" destId="{C79751C1-78DB-4278-BD9F-C4D87A1C50AF}" srcOrd="0" destOrd="0" parTransId="{98691268-5AE1-43E5-8C73-2A78685AB9AF}" sibTransId="{AF760D64-E84E-4CC4-9236-B3EDFFEACF0D}"/>
    <dgm:cxn modelId="{D9E65B9D-EFB7-43CC-82B7-C8924FF5F936}" type="presOf" srcId="{C79751C1-78DB-4278-BD9F-C4D87A1C50AF}" destId="{8658EDFA-C949-4F2F-91FA-2D8E2944BA9B}" srcOrd="0" destOrd="0" presId="urn:microsoft.com/office/officeart/2005/8/layout/vList2"/>
    <dgm:cxn modelId="{0FEB2A0F-B041-4C2C-B6E5-F99F14577219}" type="presOf" srcId="{36E6924C-773B-40FE-A0A4-74DC77ACFCDA}" destId="{0E4C5470-509E-4AE7-900D-558DBE74E1C8}" srcOrd="0" destOrd="0" presId="urn:microsoft.com/office/officeart/2005/8/layout/vList2"/>
    <dgm:cxn modelId="{3FA43640-8A06-4BB9-BE8B-F96E8EEB7EF2}" type="presOf" srcId="{D0BBB3E4-2A94-45A1-BA29-03812C535AB7}" destId="{F5BCEDF9-FF2D-41A6-A7D5-F561DD9C9EE1}" srcOrd="0" destOrd="0" presId="urn:microsoft.com/office/officeart/2005/8/layout/vList2"/>
    <dgm:cxn modelId="{CEDF833E-0443-4CF4-B66A-2D545E3A7FE1}" srcId="{36E6924C-773B-40FE-A0A4-74DC77ACFCDA}" destId="{D0BBB3E4-2A94-45A1-BA29-03812C535AB7}" srcOrd="1" destOrd="0" parTransId="{E0EB3990-28CC-4CED-9DE6-919B0C7E1478}" sibTransId="{A0A9CEC9-7D24-41CE-B302-36DB079487D1}"/>
    <dgm:cxn modelId="{82945ECA-93EE-48FB-8B86-02C338385089}" type="presParOf" srcId="{0E4C5470-509E-4AE7-900D-558DBE74E1C8}" destId="{8658EDFA-C949-4F2F-91FA-2D8E2944BA9B}" srcOrd="0" destOrd="0" presId="urn:microsoft.com/office/officeart/2005/8/layout/vList2"/>
    <dgm:cxn modelId="{1F4FE8AE-158C-419C-BE56-2E466F2BD71C}" type="presParOf" srcId="{0E4C5470-509E-4AE7-900D-558DBE74E1C8}" destId="{BEA05A1A-C0DF-4194-98A4-216C058A2694}" srcOrd="1" destOrd="0" presId="urn:microsoft.com/office/officeart/2005/8/layout/vList2"/>
    <dgm:cxn modelId="{6F54BC30-AB31-4CF8-93FC-6FF1E1FD5B15}" type="presParOf" srcId="{0E4C5470-509E-4AE7-900D-558DBE74E1C8}" destId="{F5BCEDF9-FF2D-41A6-A7D5-F561DD9C9EE1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F98F8B9A-31FD-4758-A851-5188A70F7D12}" type="doc">
      <dgm:prSet loTypeId="urn:microsoft.com/office/officeart/2005/8/layout/vList2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hu-HU"/>
        </a:p>
      </dgm:t>
    </dgm:pt>
    <dgm:pt modelId="{DA9EF975-92A1-4070-AD06-CA7B18EA35FC}">
      <dgm:prSet custT="1"/>
      <dgm:spPr/>
      <dgm:t>
        <a:bodyPr/>
        <a:lstStyle/>
        <a:p>
          <a:pPr algn="ctr" rtl="0"/>
          <a:r>
            <a:rPr lang="hu-HU" sz="2400" b="1" dirty="0" smtClean="0">
              <a:solidFill>
                <a:srgbClr val="000099"/>
              </a:solidFill>
            </a:rPr>
            <a:t>Tartam</a:t>
          </a:r>
          <a:r>
            <a:rPr lang="hu-HU" sz="2400" dirty="0" smtClean="0">
              <a:solidFill>
                <a:srgbClr val="000099"/>
              </a:solidFill>
            </a:rPr>
            <a:t>engedmény: </a:t>
          </a:r>
          <a:r>
            <a:rPr lang="hu-HU" sz="2400" b="1" dirty="0" smtClean="0">
              <a:solidFill>
                <a:srgbClr val="000099"/>
              </a:solidFill>
            </a:rPr>
            <a:t>10%</a:t>
          </a:r>
          <a:endParaRPr lang="hu-HU" sz="2400" b="1" dirty="0">
            <a:solidFill>
              <a:srgbClr val="000099"/>
            </a:solidFill>
          </a:endParaRPr>
        </a:p>
      </dgm:t>
    </dgm:pt>
    <dgm:pt modelId="{F792C719-FCFE-4C41-AAE2-4CD4CCF24206}" type="parTrans" cxnId="{72BF2D54-27FE-4732-9808-43867D39AF2D}">
      <dgm:prSet/>
      <dgm:spPr/>
      <dgm:t>
        <a:bodyPr/>
        <a:lstStyle/>
        <a:p>
          <a:pPr algn="ctr"/>
          <a:endParaRPr lang="hu-HU" sz="2400">
            <a:solidFill>
              <a:srgbClr val="000099"/>
            </a:solidFill>
          </a:endParaRPr>
        </a:p>
      </dgm:t>
    </dgm:pt>
    <dgm:pt modelId="{9174B96E-5381-4420-82DC-51CF732026EC}" type="sibTrans" cxnId="{72BF2D54-27FE-4732-9808-43867D39AF2D}">
      <dgm:prSet/>
      <dgm:spPr/>
      <dgm:t>
        <a:bodyPr/>
        <a:lstStyle/>
        <a:p>
          <a:pPr algn="ctr"/>
          <a:endParaRPr lang="hu-HU" sz="2400">
            <a:solidFill>
              <a:srgbClr val="000099"/>
            </a:solidFill>
          </a:endParaRPr>
        </a:p>
      </dgm:t>
    </dgm:pt>
    <dgm:pt modelId="{44732D68-15FA-4A07-933C-4AE1D4C410C1}">
      <dgm:prSet custT="1"/>
      <dgm:spPr/>
      <dgm:t>
        <a:bodyPr/>
        <a:lstStyle/>
        <a:p>
          <a:pPr algn="ctr" rtl="0"/>
          <a:r>
            <a:rPr lang="hu-HU" sz="2400" b="1" dirty="0" smtClean="0">
              <a:solidFill>
                <a:srgbClr val="000099"/>
              </a:solidFill>
            </a:rPr>
            <a:t>Speciális</a:t>
          </a:r>
          <a:r>
            <a:rPr lang="hu-HU" sz="2400" dirty="0" smtClean="0">
              <a:solidFill>
                <a:srgbClr val="000099"/>
              </a:solidFill>
            </a:rPr>
            <a:t> engedmény: 0-tól </a:t>
          </a:r>
          <a:r>
            <a:rPr lang="hu-HU" sz="2400" dirty="0" err="1" smtClean="0">
              <a:solidFill>
                <a:srgbClr val="000099"/>
              </a:solidFill>
            </a:rPr>
            <a:t>max</a:t>
          </a:r>
          <a:r>
            <a:rPr lang="hu-HU" sz="2400" dirty="0" smtClean="0">
              <a:solidFill>
                <a:srgbClr val="000099"/>
              </a:solidFill>
            </a:rPr>
            <a:t>. </a:t>
          </a:r>
          <a:r>
            <a:rPr lang="hu-HU" sz="2400" b="1" dirty="0" smtClean="0">
              <a:solidFill>
                <a:srgbClr val="000099"/>
              </a:solidFill>
            </a:rPr>
            <a:t>15%</a:t>
          </a:r>
          <a:r>
            <a:rPr lang="hu-HU" sz="2400" dirty="0" smtClean="0">
              <a:solidFill>
                <a:srgbClr val="000099"/>
              </a:solidFill>
            </a:rPr>
            <a:t>-ig</a:t>
          </a:r>
          <a:endParaRPr lang="hu-HU" sz="2400" dirty="0">
            <a:solidFill>
              <a:srgbClr val="000099"/>
            </a:solidFill>
          </a:endParaRPr>
        </a:p>
      </dgm:t>
    </dgm:pt>
    <dgm:pt modelId="{A8AF7C08-788B-4276-ACBE-A1DE83D37BAA}" type="parTrans" cxnId="{D4B094BB-4AE1-4DD3-B55B-247927F4C32E}">
      <dgm:prSet/>
      <dgm:spPr/>
      <dgm:t>
        <a:bodyPr/>
        <a:lstStyle/>
        <a:p>
          <a:pPr algn="ctr"/>
          <a:endParaRPr lang="hu-HU" sz="2400">
            <a:solidFill>
              <a:srgbClr val="000099"/>
            </a:solidFill>
          </a:endParaRPr>
        </a:p>
      </dgm:t>
    </dgm:pt>
    <dgm:pt modelId="{D138CC2C-8638-445D-9796-A793E9CCD091}" type="sibTrans" cxnId="{D4B094BB-4AE1-4DD3-B55B-247927F4C32E}">
      <dgm:prSet/>
      <dgm:spPr/>
      <dgm:t>
        <a:bodyPr/>
        <a:lstStyle/>
        <a:p>
          <a:pPr algn="ctr"/>
          <a:endParaRPr lang="hu-HU" sz="2400">
            <a:solidFill>
              <a:srgbClr val="000099"/>
            </a:solidFill>
          </a:endParaRPr>
        </a:p>
      </dgm:t>
    </dgm:pt>
    <dgm:pt modelId="{2BE0D025-CAC3-4C44-BAC7-8100463C618F}">
      <dgm:prSet custT="1"/>
      <dgm:spPr/>
      <dgm:t>
        <a:bodyPr/>
        <a:lstStyle/>
        <a:p>
          <a:pPr algn="ctr" rtl="0"/>
          <a:r>
            <a:rPr lang="hu-HU" sz="2400" b="1" dirty="0" smtClean="0">
              <a:solidFill>
                <a:srgbClr val="000099"/>
              </a:solidFill>
            </a:rPr>
            <a:t>Csomag</a:t>
          </a:r>
          <a:r>
            <a:rPr lang="hu-HU" sz="2400" dirty="0" smtClean="0">
              <a:solidFill>
                <a:srgbClr val="000099"/>
              </a:solidFill>
            </a:rPr>
            <a:t>engedmény: </a:t>
          </a:r>
          <a:r>
            <a:rPr lang="hu-HU" sz="2400" dirty="0" err="1" smtClean="0">
              <a:solidFill>
                <a:srgbClr val="000099"/>
              </a:solidFill>
            </a:rPr>
            <a:t>max</a:t>
          </a:r>
          <a:r>
            <a:rPr lang="hu-HU" sz="2400" dirty="0" smtClean="0">
              <a:solidFill>
                <a:srgbClr val="000099"/>
              </a:solidFill>
            </a:rPr>
            <a:t>. </a:t>
          </a:r>
          <a:r>
            <a:rPr lang="hu-HU" sz="2400" b="1" dirty="0" smtClean="0">
              <a:solidFill>
                <a:srgbClr val="000099"/>
              </a:solidFill>
            </a:rPr>
            <a:t>10%</a:t>
          </a:r>
          <a:r>
            <a:rPr lang="hu-HU" sz="2400" dirty="0" smtClean="0">
              <a:solidFill>
                <a:srgbClr val="000099"/>
              </a:solidFill>
            </a:rPr>
            <a:t>	</a:t>
          </a:r>
          <a:endParaRPr lang="hu-HU" sz="2400" dirty="0">
            <a:solidFill>
              <a:srgbClr val="000099"/>
            </a:solidFill>
          </a:endParaRPr>
        </a:p>
      </dgm:t>
    </dgm:pt>
    <dgm:pt modelId="{39FBECDB-ADFA-4CC0-8E0A-1C903305F6BE}" type="parTrans" cxnId="{9AEB67D7-334A-4EF8-AFC1-6200A3CBC177}">
      <dgm:prSet/>
      <dgm:spPr/>
      <dgm:t>
        <a:bodyPr/>
        <a:lstStyle/>
        <a:p>
          <a:pPr algn="ctr"/>
          <a:endParaRPr lang="hu-HU" sz="2400">
            <a:solidFill>
              <a:srgbClr val="000099"/>
            </a:solidFill>
          </a:endParaRPr>
        </a:p>
      </dgm:t>
    </dgm:pt>
    <dgm:pt modelId="{9DF182C5-07C5-46A8-98EF-C54E77277F17}" type="sibTrans" cxnId="{9AEB67D7-334A-4EF8-AFC1-6200A3CBC177}">
      <dgm:prSet/>
      <dgm:spPr/>
      <dgm:t>
        <a:bodyPr/>
        <a:lstStyle/>
        <a:p>
          <a:pPr algn="ctr"/>
          <a:endParaRPr lang="hu-HU" sz="2400">
            <a:solidFill>
              <a:srgbClr val="000099"/>
            </a:solidFill>
          </a:endParaRPr>
        </a:p>
      </dgm:t>
    </dgm:pt>
    <dgm:pt modelId="{C0B90C45-C9BF-4360-B644-5C0F34B5D5CF}">
      <dgm:prSet custT="1"/>
      <dgm:spPr/>
      <dgm:t>
        <a:bodyPr/>
        <a:lstStyle/>
        <a:p>
          <a:pPr algn="ctr" rtl="0"/>
          <a:r>
            <a:rPr lang="hu-HU" sz="2400" b="1" dirty="0" smtClean="0">
              <a:solidFill>
                <a:srgbClr val="000099"/>
              </a:solidFill>
            </a:rPr>
            <a:t>Díjfizetés gyakorisága</a:t>
          </a:r>
          <a:r>
            <a:rPr lang="hu-HU" sz="2400" dirty="0" smtClean="0">
              <a:solidFill>
                <a:srgbClr val="000099"/>
              </a:solidFill>
            </a:rPr>
            <a:t> szerinti kedvezmény:</a:t>
          </a:r>
        </a:p>
        <a:p>
          <a:pPr algn="ctr" rtl="0"/>
          <a:r>
            <a:rPr lang="hu-HU" sz="2400" dirty="0" smtClean="0">
              <a:solidFill>
                <a:srgbClr val="000099"/>
              </a:solidFill>
            </a:rPr>
            <a:t>½ éves díjfizetés </a:t>
          </a:r>
          <a:r>
            <a:rPr lang="hu-HU" sz="2400" b="1" dirty="0" smtClean="0">
              <a:solidFill>
                <a:srgbClr val="000099"/>
              </a:solidFill>
            </a:rPr>
            <a:t>2,5%</a:t>
          </a:r>
          <a:r>
            <a:rPr lang="hu-HU" sz="2400" dirty="0" smtClean="0">
              <a:solidFill>
                <a:srgbClr val="000099"/>
              </a:solidFill>
            </a:rPr>
            <a:t>     éves díjfizetés </a:t>
          </a:r>
          <a:r>
            <a:rPr lang="hu-HU" sz="2400" b="1" dirty="0" smtClean="0">
              <a:solidFill>
                <a:srgbClr val="000099"/>
              </a:solidFill>
            </a:rPr>
            <a:t>5%</a:t>
          </a:r>
          <a:endParaRPr lang="hu-HU" sz="2400" b="1" dirty="0">
            <a:solidFill>
              <a:srgbClr val="000099"/>
            </a:solidFill>
          </a:endParaRPr>
        </a:p>
      </dgm:t>
    </dgm:pt>
    <dgm:pt modelId="{4B56F398-3242-4099-82C6-BD0413DECE3A}" type="parTrans" cxnId="{58A58D74-7EAD-4DE3-9A0B-33993F2334EB}">
      <dgm:prSet/>
      <dgm:spPr/>
      <dgm:t>
        <a:bodyPr/>
        <a:lstStyle/>
        <a:p>
          <a:endParaRPr lang="hu-HU"/>
        </a:p>
      </dgm:t>
    </dgm:pt>
    <dgm:pt modelId="{D9E0AB55-8160-4249-9BE4-3A1FCC051EB6}" type="sibTrans" cxnId="{58A58D74-7EAD-4DE3-9A0B-33993F2334EB}">
      <dgm:prSet/>
      <dgm:spPr/>
      <dgm:t>
        <a:bodyPr/>
        <a:lstStyle/>
        <a:p>
          <a:endParaRPr lang="hu-HU"/>
        </a:p>
      </dgm:t>
    </dgm:pt>
    <dgm:pt modelId="{550D4834-3D9F-4029-A455-AD185E134774}">
      <dgm:prSet custT="1"/>
      <dgm:spPr/>
      <dgm:t>
        <a:bodyPr/>
        <a:lstStyle/>
        <a:p>
          <a:pPr algn="ctr" rtl="0"/>
          <a:r>
            <a:rPr lang="hu-HU" sz="2400" b="1" dirty="0" smtClean="0">
              <a:solidFill>
                <a:srgbClr val="000099"/>
              </a:solidFill>
            </a:rPr>
            <a:t>Üzleti</a:t>
          </a:r>
          <a:r>
            <a:rPr lang="hu-HU" sz="2400" dirty="0" smtClean="0">
              <a:solidFill>
                <a:srgbClr val="000099"/>
              </a:solidFill>
            </a:rPr>
            <a:t> kedvezmény: </a:t>
          </a:r>
          <a:r>
            <a:rPr lang="hu-HU" sz="2400" b="1" dirty="0" smtClean="0">
              <a:solidFill>
                <a:srgbClr val="000099"/>
              </a:solidFill>
            </a:rPr>
            <a:t>20%</a:t>
          </a:r>
        </a:p>
        <a:p>
          <a:pPr algn="ctr" rtl="0"/>
          <a:r>
            <a:rPr lang="hu-HU" sz="2400" b="1" dirty="0" smtClean="0">
              <a:solidFill>
                <a:srgbClr val="000099"/>
              </a:solidFill>
            </a:rPr>
            <a:t>(jutalékmentessé teszi a szerződést)</a:t>
          </a:r>
          <a:endParaRPr lang="hu-HU" sz="2400" b="1" dirty="0">
            <a:solidFill>
              <a:srgbClr val="000099"/>
            </a:solidFill>
          </a:endParaRPr>
        </a:p>
      </dgm:t>
    </dgm:pt>
    <dgm:pt modelId="{E1AB1776-AD9D-4EF9-8E96-18997FE6E663}" type="parTrans" cxnId="{08E7F3FF-4C2C-4C00-8B6E-4927BC2DFCA9}">
      <dgm:prSet/>
      <dgm:spPr/>
      <dgm:t>
        <a:bodyPr/>
        <a:lstStyle/>
        <a:p>
          <a:endParaRPr lang="hu-HU"/>
        </a:p>
      </dgm:t>
    </dgm:pt>
    <dgm:pt modelId="{D2A94957-16BA-4FD1-9A9C-830EB335BFA2}" type="sibTrans" cxnId="{08E7F3FF-4C2C-4C00-8B6E-4927BC2DFCA9}">
      <dgm:prSet/>
      <dgm:spPr/>
      <dgm:t>
        <a:bodyPr/>
        <a:lstStyle/>
        <a:p>
          <a:endParaRPr lang="hu-HU"/>
        </a:p>
      </dgm:t>
    </dgm:pt>
    <dgm:pt modelId="{C997F541-F2B1-4EAB-A9A8-AFC374DA0125}" type="pres">
      <dgm:prSet presAssocID="{F98F8B9A-31FD-4758-A851-5188A70F7D12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F8EC5355-AA1C-48AE-BFC1-06925E81F9AB}" type="pres">
      <dgm:prSet presAssocID="{DA9EF975-92A1-4070-AD06-CA7B18EA35FC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55703DC2-4418-4E0F-BAF9-90CA152B6769}" type="pres">
      <dgm:prSet presAssocID="{9174B96E-5381-4420-82DC-51CF732026EC}" presName="spacer" presStyleCnt="0"/>
      <dgm:spPr/>
    </dgm:pt>
    <dgm:pt modelId="{3F6F2818-34F7-4F38-BB0D-29A0DBDBA2E8}" type="pres">
      <dgm:prSet presAssocID="{C0B90C45-C9BF-4360-B644-5C0F34B5D5CF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AC3C226-3EE9-4D5F-871F-B17505A39287}" type="pres">
      <dgm:prSet presAssocID="{D9E0AB55-8160-4249-9BE4-3A1FCC051EB6}" presName="spacer" presStyleCnt="0"/>
      <dgm:spPr/>
    </dgm:pt>
    <dgm:pt modelId="{1A039D32-AC42-4054-8CCA-E11B6FB8115C}" type="pres">
      <dgm:prSet presAssocID="{44732D68-15FA-4A07-933C-4AE1D4C410C1}" presName="parentText" presStyleLbl="node1" presStyleIdx="2" presStyleCnt="5" custLinFactNeighborY="-953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0F47C18-C9EE-461C-A8B9-0DFAFB72F602}" type="pres">
      <dgm:prSet presAssocID="{D138CC2C-8638-445D-9796-A793E9CCD091}" presName="spacer" presStyleCnt="0"/>
      <dgm:spPr/>
    </dgm:pt>
    <dgm:pt modelId="{A6BA2307-56B5-45E0-8DB5-411CDDFEFED7}" type="pres">
      <dgm:prSet presAssocID="{550D4834-3D9F-4029-A455-AD185E134774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71BE819B-EFDE-41D4-A911-CAFC5E3A64E8}" type="pres">
      <dgm:prSet presAssocID="{D2A94957-16BA-4FD1-9A9C-830EB335BFA2}" presName="spacer" presStyleCnt="0"/>
      <dgm:spPr/>
    </dgm:pt>
    <dgm:pt modelId="{D59553C3-8445-4642-BE4C-51963C49D3EB}" type="pres">
      <dgm:prSet presAssocID="{2BE0D025-CAC3-4C44-BAC7-8100463C618F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828BA9DE-5971-479B-B762-3C0A233405AA}" type="presOf" srcId="{DA9EF975-92A1-4070-AD06-CA7B18EA35FC}" destId="{F8EC5355-AA1C-48AE-BFC1-06925E81F9AB}" srcOrd="0" destOrd="0" presId="urn:microsoft.com/office/officeart/2005/8/layout/vList2"/>
    <dgm:cxn modelId="{58A58D74-7EAD-4DE3-9A0B-33993F2334EB}" srcId="{F98F8B9A-31FD-4758-A851-5188A70F7D12}" destId="{C0B90C45-C9BF-4360-B644-5C0F34B5D5CF}" srcOrd="1" destOrd="0" parTransId="{4B56F398-3242-4099-82C6-BD0413DECE3A}" sibTransId="{D9E0AB55-8160-4249-9BE4-3A1FCC051EB6}"/>
    <dgm:cxn modelId="{AF0DAE46-A35C-452F-8840-58F8F9C15FFD}" type="presOf" srcId="{C0B90C45-C9BF-4360-B644-5C0F34B5D5CF}" destId="{3F6F2818-34F7-4F38-BB0D-29A0DBDBA2E8}" srcOrd="0" destOrd="0" presId="urn:microsoft.com/office/officeart/2005/8/layout/vList2"/>
    <dgm:cxn modelId="{D4B094BB-4AE1-4DD3-B55B-247927F4C32E}" srcId="{F98F8B9A-31FD-4758-A851-5188A70F7D12}" destId="{44732D68-15FA-4A07-933C-4AE1D4C410C1}" srcOrd="2" destOrd="0" parTransId="{A8AF7C08-788B-4276-ACBE-A1DE83D37BAA}" sibTransId="{D138CC2C-8638-445D-9796-A793E9CCD091}"/>
    <dgm:cxn modelId="{72BF2D54-27FE-4732-9808-43867D39AF2D}" srcId="{F98F8B9A-31FD-4758-A851-5188A70F7D12}" destId="{DA9EF975-92A1-4070-AD06-CA7B18EA35FC}" srcOrd="0" destOrd="0" parTransId="{F792C719-FCFE-4C41-AAE2-4CD4CCF24206}" sibTransId="{9174B96E-5381-4420-82DC-51CF732026EC}"/>
    <dgm:cxn modelId="{9AEB67D7-334A-4EF8-AFC1-6200A3CBC177}" srcId="{F98F8B9A-31FD-4758-A851-5188A70F7D12}" destId="{2BE0D025-CAC3-4C44-BAC7-8100463C618F}" srcOrd="4" destOrd="0" parTransId="{39FBECDB-ADFA-4CC0-8E0A-1C903305F6BE}" sibTransId="{9DF182C5-07C5-46A8-98EF-C54E77277F17}"/>
    <dgm:cxn modelId="{06BFF9BD-DEFE-4FAE-89D8-C0CCFCCAB11B}" type="presOf" srcId="{44732D68-15FA-4A07-933C-4AE1D4C410C1}" destId="{1A039D32-AC42-4054-8CCA-E11B6FB8115C}" srcOrd="0" destOrd="0" presId="urn:microsoft.com/office/officeart/2005/8/layout/vList2"/>
    <dgm:cxn modelId="{08E7F3FF-4C2C-4C00-8B6E-4927BC2DFCA9}" srcId="{F98F8B9A-31FD-4758-A851-5188A70F7D12}" destId="{550D4834-3D9F-4029-A455-AD185E134774}" srcOrd="3" destOrd="0" parTransId="{E1AB1776-AD9D-4EF9-8E96-18997FE6E663}" sibTransId="{D2A94957-16BA-4FD1-9A9C-830EB335BFA2}"/>
    <dgm:cxn modelId="{E8CC3F4C-9CA3-4218-82FB-6B8849BD8CA5}" type="presOf" srcId="{F98F8B9A-31FD-4758-A851-5188A70F7D12}" destId="{C997F541-F2B1-4EAB-A9A8-AFC374DA0125}" srcOrd="0" destOrd="0" presId="urn:microsoft.com/office/officeart/2005/8/layout/vList2"/>
    <dgm:cxn modelId="{AE8C838B-8E69-45AF-B542-4B49AB31502D}" type="presOf" srcId="{2BE0D025-CAC3-4C44-BAC7-8100463C618F}" destId="{D59553C3-8445-4642-BE4C-51963C49D3EB}" srcOrd="0" destOrd="0" presId="urn:microsoft.com/office/officeart/2005/8/layout/vList2"/>
    <dgm:cxn modelId="{B43A4432-DA97-4E2C-8B9D-DAEB6B68A6AD}" type="presOf" srcId="{550D4834-3D9F-4029-A455-AD185E134774}" destId="{A6BA2307-56B5-45E0-8DB5-411CDDFEFED7}" srcOrd="0" destOrd="0" presId="urn:microsoft.com/office/officeart/2005/8/layout/vList2"/>
    <dgm:cxn modelId="{5D4A63B1-A83D-44F6-BD4A-AC0022818F1C}" type="presParOf" srcId="{C997F541-F2B1-4EAB-A9A8-AFC374DA0125}" destId="{F8EC5355-AA1C-48AE-BFC1-06925E81F9AB}" srcOrd="0" destOrd="0" presId="urn:microsoft.com/office/officeart/2005/8/layout/vList2"/>
    <dgm:cxn modelId="{668F575A-0064-4A77-96EC-B2E4DE84FBE2}" type="presParOf" srcId="{C997F541-F2B1-4EAB-A9A8-AFC374DA0125}" destId="{55703DC2-4418-4E0F-BAF9-90CA152B6769}" srcOrd="1" destOrd="0" presId="urn:microsoft.com/office/officeart/2005/8/layout/vList2"/>
    <dgm:cxn modelId="{60E62DEF-4F85-4D40-A248-32D38446BAE4}" type="presParOf" srcId="{C997F541-F2B1-4EAB-A9A8-AFC374DA0125}" destId="{3F6F2818-34F7-4F38-BB0D-29A0DBDBA2E8}" srcOrd="2" destOrd="0" presId="urn:microsoft.com/office/officeart/2005/8/layout/vList2"/>
    <dgm:cxn modelId="{3761C276-4E0F-48C5-916E-80AFFD741F1C}" type="presParOf" srcId="{C997F541-F2B1-4EAB-A9A8-AFC374DA0125}" destId="{BAC3C226-3EE9-4D5F-871F-B17505A39287}" srcOrd="3" destOrd="0" presId="urn:microsoft.com/office/officeart/2005/8/layout/vList2"/>
    <dgm:cxn modelId="{606FDAF4-36A5-43FF-A7CB-97AE00373904}" type="presParOf" srcId="{C997F541-F2B1-4EAB-A9A8-AFC374DA0125}" destId="{1A039D32-AC42-4054-8CCA-E11B6FB8115C}" srcOrd="4" destOrd="0" presId="urn:microsoft.com/office/officeart/2005/8/layout/vList2"/>
    <dgm:cxn modelId="{FD73F35B-FD6A-4CF0-88E8-0B6F93056D2C}" type="presParOf" srcId="{C997F541-F2B1-4EAB-A9A8-AFC374DA0125}" destId="{20F47C18-C9EE-461C-A8B9-0DFAFB72F602}" srcOrd="5" destOrd="0" presId="urn:microsoft.com/office/officeart/2005/8/layout/vList2"/>
    <dgm:cxn modelId="{8145A8AA-90C7-4CA0-8AA5-EFB298D1FE84}" type="presParOf" srcId="{C997F541-F2B1-4EAB-A9A8-AFC374DA0125}" destId="{A6BA2307-56B5-45E0-8DB5-411CDDFEFED7}" srcOrd="6" destOrd="0" presId="urn:microsoft.com/office/officeart/2005/8/layout/vList2"/>
    <dgm:cxn modelId="{4F02BF54-11CC-4B4C-8117-84E27057CA7E}" type="presParOf" srcId="{C997F541-F2B1-4EAB-A9A8-AFC374DA0125}" destId="{71BE819B-EFDE-41D4-A911-CAFC5E3A64E8}" srcOrd="7" destOrd="0" presId="urn:microsoft.com/office/officeart/2005/8/layout/vList2"/>
    <dgm:cxn modelId="{741A2E5A-4F55-4F42-B2DF-FF2BD491128B}" type="presParOf" srcId="{C997F541-F2B1-4EAB-A9A8-AFC374DA0125}" destId="{D59553C3-8445-4642-BE4C-51963C49D3EB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5D1F4A-4E59-46B7-B84D-E397DBB7F66B}">
      <dsp:nvSpPr>
        <dsp:cNvPr id="0" name=""/>
        <dsp:cNvSpPr/>
      </dsp:nvSpPr>
      <dsp:spPr>
        <a:xfrm rot="5400000">
          <a:off x="4890662" y="-1570928"/>
          <a:ext cx="1872618" cy="5484208"/>
        </a:xfrm>
        <a:prstGeom prst="round2SameRect">
          <a:avLst/>
        </a:prstGeom>
        <a:solidFill>
          <a:srgbClr val="A7BCFF">
            <a:alpha val="90000"/>
          </a:srgbClr>
        </a:solidFill>
        <a:ln w="25400" cap="flat" cmpd="sng" algn="ctr">
          <a:solidFill>
            <a:schemeClr val="accent1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400" kern="12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Épület</a:t>
          </a:r>
          <a:endParaRPr lang="hu-HU" sz="2400" kern="12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400" kern="12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Ingóság (betöréses lopással vagy betöréses lopás nélkül köthető) </a:t>
          </a:r>
          <a:endParaRPr lang="hu-HU" sz="2400" kern="12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3084867" y="326281"/>
        <a:ext cx="5392794" cy="1689790"/>
      </dsp:txXfrm>
    </dsp:sp>
    <dsp:sp modelId="{A0ACBFD1-A2E7-4574-A660-78C87BB90CBA}">
      <dsp:nvSpPr>
        <dsp:cNvPr id="0" name=""/>
        <dsp:cNvSpPr/>
      </dsp:nvSpPr>
      <dsp:spPr>
        <a:xfrm>
          <a:off x="0" y="789"/>
          <a:ext cx="3084867" cy="2340772"/>
        </a:xfrm>
        <a:prstGeom prst="roundRect">
          <a:avLst/>
        </a:prstGeom>
        <a:solidFill>
          <a:srgbClr val="A7BCFF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0066"/>
              </a:solidFill>
            </a:rPr>
            <a:t>Vagyonbiztosítás</a:t>
          </a:r>
          <a:r>
            <a:rPr lang="hu-HU" sz="2400" kern="1200" dirty="0" smtClean="0">
              <a:solidFill>
                <a:srgbClr val="000066"/>
              </a:solidFill>
            </a:rPr>
            <a:t>:</a:t>
          </a:r>
          <a:endParaRPr lang="hu-HU" sz="2400" kern="1200" dirty="0">
            <a:solidFill>
              <a:srgbClr val="000066"/>
            </a:solidFill>
          </a:endParaRPr>
        </a:p>
      </dsp:txBody>
      <dsp:txXfrm>
        <a:off x="114267" y="115056"/>
        <a:ext cx="2856333" cy="2112238"/>
      </dsp:txXfrm>
    </dsp:sp>
    <dsp:sp modelId="{2D6E8DA2-E660-4FC8-AF6D-DD1B880238D7}">
      <dsp:nvSpPr>
        <dsp:cNvPr id="0" name=""/>
        <dsp:cNvSpPr/>
      </dsp:nvSpPr>
      <dsp:spPr>
        <a:xfrm rot="5400000">
          <a:off x="4530523" y="1009932"/>
          <a:ext cx="2581516" cy="5478852"/>
        </a:xfrm>
        <a:prstGeom prst="round2SameRect">
          <a:avLst/>
        </a:prstGeom>
        <a:solidFill>
          <a:srgbClr val="A7BCFF">
            <a:alpha val="90000"/>
          </a:srgbClr>
        </a:solidFill>
        <a:ln w="25400" cap="flat" cmpd="sng" algn="ctr">
          <a:solidFill>
            <a:schemeClr val="accent1">
              <a:alpha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400" kern="12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Üvegbiztosítás</a:t>
          </a:r>
          <a:endParaRPr lang="hu-HU" sz="2400" kern="12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400" kern="12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Felelősségbiztosítások</a:t>
          </a:r>
          <a:endParaRPr lang="hu-HU" sz="2400" kern="12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400" kern="12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Üzemszünet-biztosítás</a:t>
          </a:r>
          <a:endParaRPr lang="hu-HU" sz="2400" kern="12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400" kern="12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Géptörés-biztosítás</a:t>
          </a:r>
          <a:endParaRPr lang="hu-HU" sz="2400" kern="12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hu-HU" sz="2400" kern="1200" dirty="0" smtClean="0">
              <a:solidFill>
                <a:srgbClr val="000066"/>
              </a:solidFill>
              <a:latin typeface="Arial" panose="020B0604020202020204" pitchFamily="34" charset="0"/>
              <a:cs typeface="Arial" panose="020B0604020202020204" pitchFamily="34" charset="0"/>
            </a:rPr>
            <a:t>Elektromos és elektronikus berendezések biztosítása (ELBER)</a:t>
          </a:r>
          <a:endParaRPr lang="hu-HU" sz="2400" kern="1200" dirty="0">
            <a:solidFill>
              <a:srgbClr val="000066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-5400000">
        <a:off x="3081856" y="2584619"/>
        <a:ext cx="5352833" cy="2329478"/>
      </dsp:txXfrm>
    </dsp:sp>
    <dsp:sp modelId="{2B16387A-9950-451C-9C3C-C687013838CA}">
      <dsp:nvSpPr>
        <dsp:cNvPr id="0" name=""/>
        <dsp:cNvSpPr/>
      </dsp:nvSpPr>
      <dsp:spPr>
        <a:xfrm>
          <a:off x="0" y="2578972"/>
          <a:ext cx="3081854" cy="2340772"/>
        </a:xfrm>
        <a:prstGeom prst="roundRect">
          <a:avLst/>
        </a:prstGeom>
        <a:solidFill>
          <a:srgbClr val="A7BCFF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0066"/>
              </a:solidFill>
            </a:rPr>
            <a:t>Kiegészítő biztosítások:</a:t>
          </a:r>
          <a:endParaRPr lang="hu-HU" sz="2400" kern="1200" dirty="0">
            <a:solidFill>
              <a:srgbClr val="000066"/>
            </a:solidFill>
          </a:endParaRPr>
        </a:p>
      </dsp:txBody>
      <dsp:txXfrm>
        <a:off x="114267" y="2693239"/>
        <a:ext cx="2853320" cy="211223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BDF57-29EB-4BEB-8980-2152E3E12187}">
      <dsp:nvSpPr>
        <dsp:cNvPr id="0" name=""/>
        <dsp:cNvSpPr/>
      </dsp:nvSpPr>
      <dsp:spPr>
        <a:xfrm>
          <a:off x="0" y="1877"/>
          <a:ext cx="3600524" cy="279852"/>
        </a:xfrm>
        <a:prstGeom prst="round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>
              <a:solidFill>
                <a:srgbClr val="000099"/>
              </a:solidFill>
            </a:rPr>
            <a:t>Munkáltatói</a:t>
          </a:r>
          <a:endParaRPr lang="hu-HU" sz="2000" kern="1200" dirty="0">
            <a:solidFill>
              <a:srgbClr val="000099"/>
            </a:solidFill>
          </a:endParaRPr>
        </a:p>
      </dsp:txBody>
      <dsp:txXfrm>
        <a:off x="13661" y="15538"/>
        <a:ext cx="3573202" cy="252530"/>
      </dsp:txXfrm>
    </dsp:sp>
    <dsp:sp modelId="{05112D99-216A-485A-9082-66AC42666BC4}">
      <dsp:nvSpPr>
        <dsp:cNvPr id="0" name=""/>
        <dsp:cNvSpPr/>
      </dsp:nvSpPr>
      <dsp:spPr>
        <a:xfrm>
          <a:off x="0" y="360039"/>
          <a:ext cx="3600524" cy="319835"/>
        </a:xfrm>
        <a:prstGeom prst="roundRect">
          <a:avLst/>
        </a:prstGeom>
        <a:solidFill>
          <a:schemeClr val="tx2">
            <a:lumMod val="7500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>
              <a:solidFill>
                <a:srgbClr val="000099"/>
              </a:solidFill>
            </a:rPr>
            <a:t>Ingatlan-bérlői</a:t>
          </a:r>
          <a:r>
            <a:rPr lang="hu-HU" sz="3200" kern="1200" dirty="0" smtClean="0"/>
            <a:t> </a:t>
          </a:r>
          <a:endParaRPr lang="hu-HU" sz="3200" kern="1200" dirty="0"/>
        </a:p>
      </dsp:txBody>
      <dsp:txXfrm>
        <a:off x="15613" y="375652"/>
        <a:ext cx="3569298" cy="288609"/>
      </dsp:txXfrm>
    </dsp:sp>
    <dsp:sp modelId="{9372EAC2-9D22-4DB5-A3FC-5D563191A2A2}">
      <dsp:nvSpPr>
        <dsp:cNvPr id="0" name=""/>
        <dsp:cNvSpPr/>
      </dsp:nvSpPr>
      <dsp:spPr>
        <a:xfrm>
          <a:off x="0" y="792088"/>
          <a:ext cx="3600524" cy="339803"/>
        </a:xfrm>
        <a:prstGeom prst="round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>
              <a:solidFill>
                <a:srgbClr val="000099"/>
              </a:solidFill>
            </a:rPr>
            <a:t>Ingatlan-bérbeadói</a:t>
          </a:r>
          <a:endParaRPr lang="hu-HU" sz="2400" kern="1200" dirty="0">
            <a:solidFill>
              <a:srgbClr val="000099"/>
            </a:solidFill>
          </a:endParaRPr>
        </a:p>
      </dsp:txBody>
      <dsp:txXfrm>
        <a:off x="16588" y="808676"/>
        <a:ext cx="3567348" cy="306627"/>
      </dsp:txXfrm>
    </dsp:sp>
    <dsp:sp modelId="{A5111FDF-001E-4AC5-98AE-7A3B23B05335}">
      <dsp:nvSpPr>
        <dsp:cNvPr id="0" name=""/>
        <dsp:cNvSpPr/>
      </dsp:nvSpPr>
      <dsp:spPr>
        <a:xfrm>
          <a:off x="0" y="1224136"/>
          <a:ext cx="3600524" cy="333226"/>
        </a:xfrm>
        <a:prstGeom prst="roundRect">
          <a:avLst/>
        </a:prstGeom>
        <a:solidFill>
          <a:schemeClr val="bg1">
            <a:lumMod val="7500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>
              <a:solidFill>
                <a:srgbClr val="000099"/>
              </a:solidFill>
            </a:rPr>
            <a:t>Környezetszennyezési</a:t>
          </a:r>
          <a:endParaRPr lang="hu-HU" sz="2400" kern="1200" dirty="0">
            <a:solidFill>
              <a:srgbClr val="000099"/>
            </a:solidFill>
          </a:endParaRPr>
        </a:p>
      </dsp:txBody>
      <dsp:txXfrm>
        <a:off x="16267" y="1240403"/>
        <a:ext cx="3567990" cy="300692"/>
      </dsp:txXfrm>
    </dsp:sp>
    <dsp:sp modelId="{683B4213-2E66-4A2C-8FF1-1CDB95ABDD10}">
      <dsp:nvSpPr>
        <dsp:cNvPr id="0" name=""/>
        <dsp:cNvSpPr/>
      </dsp:nvSpPr>
      <dsp:spPr>
        <a:xfrm>
          <a:off x="0" y="1630352"/>
          <a:ext cx="3600524" cy="313864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0" kern="1200" smtClean="0">
              <a:solidFill>
                <a:srgbClr val="000099"/>
              </a:solidFill>
            </a:rPr>
            <a:t>Szolgáltatói</a:t>
          </a:r>
          <a:r>
            <a:rPr lang="hu-HU" sz="2400" b="0" kern="1200" smtClean="0"/>
            <a:t> </a:t>
          </a:r>
          <a:endParaRPr lang="hu-HU" sz="2400" kern="1200" dirty="0">
            <a:solidFill>
              <a:srgbClr val="000099"/>
            </a:solidFill>
          </a:endParaRPr>
        </a:p>
      </dsp:txBody>
      <dsp:txXfrm>
        <a:off x="15322" y="1645674"/>
        <a:ext cx="3569880" cy="283220"/>
      </dsp:txXfrm>
    </dsp:sp>
    <dsp:sp modelId="{E636D8D1-85A2-49AA-B431-305E31DE91C5}">
      <dsp:nvSpPr>
        <dsp:cNvPr id="0" name=""/>
        <dsp:cNvSpPr/>
      </dsp:nvSpPr>
      <dsp:spPr>
        <a:xfrm>
          <a:off x="0" y="2091122"/>
          <a:ext cx="3600524" cy="357150"/>
        </a:xfrm>
        <a:prstGeom prst="roundRect">
          <a:avLst/>
        </a:prstGeom>
        <a:solidFill>
          <a:srgbClr val="3366FF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>
              <a:solidFill>
                <a:srgbClr val="000099"/>
              </a:solidFill>
            </a:rPr>
            <a:t>Termék</a:t>
          </a:r>
          <a:endParaRPr lang="hu-HU" sz="2400" kern="1200" dirty="0">
            <a:solidFill>
              <a:srgbClr val="000099"/>
            </a:solidFill>
          </a:endParaRPr>
        </a:p>
      </dsp:txBody>
      <dsp:txXfrm>
        <a:off x="17435" y="2108557"/>
        <a:ext cx="3565654" cy="322280"/>
      </dsp:txXfrm>
    </dsp:sp>
    <dsp:sp modelId="{5655CB04-E0DA-4754-AF89-D99D7E526A71}">
      <dsp:nvSpPr>
        <dsp:cNvPr id="0" name=""/>
        <dsp:cNvSpPr/>
      </dsp:nvSpPr>
      <dsp:spPr>
        <a:xfrm>
          <a:off x="0" y="2567690"/>
          <a:ext cx="3600524" cy="418585"/>
        </a:xfrm>
        <a:prstGeom prst="round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>
              <a:solidFill>
                <a:srgbClr val="000099"/>
              </a:solidFill>
            </a:rPr>
            <a:t>Szállodai szolgáltatók</a:t>
          </a:r>
          <a:endParaRPr lang="hu-HU" sz="2400" kern="1200" dirty="0">
            <a:solidFill>
              <a:srgbClr val="000099"/>
            </a:solidFill>
          </a:endParaRPr>
        </a:p>
      </dsp:txBody>
      <dsp:txXfrm>
        <a:off x="20434" y="2588124"/>
        <a:ext cx="3559656" cy="377717"/>
      </dsp:txXfrm>
    </dsp:sp>
    <dsp:sp modelId="{2A03956C-4D1B-4B74-89F2-29C36C4B30ED}">
      <dsp:nvSpPr>
        <dsp:cNvPr id="0" name=""/>
        <dsp:cNvSpPr/>
      </dsp:nvSpPr>
      <dsp:spPr>
        <a:xfrm>
          <a:off x="0" y="3089955"/>
          <a:ext cx="3600524" cy="422419"/>
        </a:xfrm>
        <a:prstGeom prst="round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kern="1200" dirty="0" smtClean="0">
              <a:solidFill>
                <a:srgbClr val="000099"/>
              </a:solidFill>
            </a:rPr>
            <a:t>Oktatói, gyakorlati képzést szervezői</a:t>
          </a:r>
          <a:endParaRPr lang="hu-HU" sz="1600" kern="1200" dirty="0">
            <a:solidFill>
              <a:srgbClr val="000099"/>
            </a:solidFill>
          </a:endParaRPr>
        </a:p>
      </dsp:txBody>
      <dsp:txXfrm>
        <a:off x="20621" y="3110576"/>
        <a:ext cx="3559282" cy="381177"/>
      </dsp:txXfrm>
    </dsp:sp>
    <dsp:sp modelId="{BA391E8E-7748-4F0C-B545-39A268F11594}">
      <dsp:nvSpPr>
        <dsp:cNvPr id="0" name=""/>
        <dsp:cNvSpPr/>
      </dsp:nvSpPr>
      <dsp:spPr>
        <a:xfrm>
          <a:off x="0" y="3616055"/>
          <a:ext cx="3600524" cy="486523"/>
        </a:xfrm>
        <a:prstGeom prst="roundRect">
          <a:avLst/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kern="1200" dirty="0" smtClean="0">
              <a:solidFill>
                <a:srgbClr val="000099"/>
              </a:solidFill>
            </a:rPr>
            <a:t>Gépjárműszervizek</a:t>
          </a:r>
          <a:endParaRPr lang="hu-HU" sz="2000" kern="1200" dirty="0">
            <a:solidFill>
              <a:srgbClr val="000099"/>
            </a:solidFill>
          </a:endParaRPr>
        </a:p>
      </dsp:txBody>
      <dsp:txXfrm>
        <a:off x="23750" y="3639805"/>
        <a:ext cx="3553024" cy="43902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322E5C-1DEF-4F70-A791-75CDBF7386FB}">
      <dsp:nvSpPr>
        <dsp:cNvPr id="0" name=""/>
        <dsp:cNvSpPr/>
      </dsp:nvSpPr>
      <dsp:spPr>
        <a:xfrm>
          <a:off x="0" y="212593"/>
          <a:ext cx="4896544" cy="298657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0" kern="1200" dirty="0" smtClean="0">
              <a:solidFill>
                <a:srgbClr val="000099"/>
              </a:solidFill>
            </a:rPr>
            <a:t>Szolgáltatás tárgyában okozott dologi károk</a:t>
          </a:r>
          <a:endParaRPr lang="hu-HU" sz="1600" b="0" kern="1200" dirty="0">
            <a:solidFill>
              <a:srgbClr val="000099"/>
            </a:solidFill>
          </a:endParaRPr>
        </a:p>
      </dsp:txBody>
      <dsp:txXfrm>
        <a:off x="14579" y="227172"/>
        <a:ext cx="4867386" cy="269499"/>
      </dsp:txXfrm>
    </dsp:sp>
    <dsp:sp modelId="{F522FF66-791D-45B1-9857-8AD89C33849D}">
      <dsp:nvSpPr>
        <dsp:cNvPr id="0" name=""/>
        <dsp:cNvSpPr/>
      </dsp:nvSpPr>
      <dsp:spPr>
        <a:xfrm>
          <a:off x="0" y="640753"/>
          <a:ext cx="4896544" cy="270849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0" kern="1200" dirty="0" smtClean="0">
              <a:solidFill>
                <a:srgbClr val="000099"/>
              </a:solidFill>
            </a:rPr>
            <a:t>Építés-szerelési tevékenység</a:t>
          </a:r>
          <a:endParaRPr lang="hu-HU" sz="1600" b="0" kern="1200" dirty="0">
            <a:solidFill>
              <a:srgbClr val="000099"/>
            </a:solidFill>
          </a:endParaRPr>
        </a:p>
      </dsp:txBody>
      <dsp:txXfrm>
        <a:off x="13222" y="653975"/>
        <a:ext cx="4870100" cy="244405"/>
      </dsp:txXfrm>
    </dsp:sp>
    <dsp:sp modelId="{05713EBB-BD91-4A37-A1D0-AD882B129A4E}">
      <dsp:nvSpPr>
        <dsp:cNvPr id="0" name=""/>
        <dsp:cNvSpPr/>
      </dsp:nvSpPr>
      <dsp:spPr>
        <a:xfrm>
          <a:off x="0" y="1031229"/>
          <a:ext cx="4896544" cy="296620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0" kern="1200" dirty="0" smtClean="0">
              <a:solidFill>
                <a:srgbClr val="000099"/>
              </a:solidFill>
            </a:rPr>
            <a:t>Alvállalkozói fedezet</a:t>
          </a:r>
          <a:endParaRPr lang="hu-HU" sz="1600" b="0" kern="1200" dirty="0">
            <a:solidFill>
              <a:srgbClr val="000099"/>
            </a:solidFill>
          </a:endParaRPr>
        </a:p>
      </dsp:txBody>
      <dsp:txXfrm>
        <a:off x="14480" y="1045709"/>
        <a:ext cx="4867584" cy="267660"/>
      </dsp:txXfrm>
    </dsp:sp>
    <dsp:sp modelId="{13E5FBF1-CF63-4CD8-9B64-EF2B85702018}">
      <dsp:nvSpPr>
        <dsp:cNvPr id="0" name=""/>
        <dsp:cNvSpPr/>
      </dsp:nvSpPr>
      <dsp:spPr>
        <a:xfrm>
          <a:off x="0" y="1512170"/>
          <a:ext cx="4896544" cy="344747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0" kern="1200" dirty="0" smtClean="0">
              <a:solidFill>
                <a:srgbClr val="000099"/>
              </a:solidFill>
            </a:rPr>
            <a:t>Idegen járművek fel- és lerakodása</a:t>
          </a:r>
          <a:endParaRPr lang="hu-HU" sz="1600" b="0" kern="1200" dirty="0">
            <a:solidFill>
              <a:srgbClr val="000099"/>
            </a:solidFill>
          </a:endParaRPr>
        </a:p>
      </dsp:txBody>
      <dsp:txXfrm>
        <a:off x="16829" y="1528999"/>
        <a:ext cx="4862886" cy="311089"/>
      </dsp:txXfrm>
    </dsp:sp>
    <dsp:sp modelId="{7C271ABA-63A5-49A6-92C5-D5C72B89C5B7}">
      <dsp:nvSpPr>
        <dsp:cNvPr id="0" name=""/>
        <dsp:cNvSpPr/>
      </dsp:nvSpPr>
      <dsp:spPr>
        <a:xfrm>
          <a:off x="0" y="2144838"/>
          <a:ext cx="4896544" cy="375442"/>
        </a:xfrm>
        <a:prstGeom prst="roundRect">
          <a:avLst/>
        </a:prstGeom>
        <a:solidFill>
          <a:srgbClr val="3366FF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0" kern="1200" dirty="0" smtClean="0">
              <a:solidFill>
                <a:srgbClr val="000099"/>
              </a:solidFill>
            </a:rPr>
            <a:t>Kibővített termékfelelősség-biztosítás</a:t>
          </a:r>
          <a:endParaRPr lang="hu-HU" sz="1600" b="0" kern="1200" dirty="0">
            <a:solidFill>
              <a:srgbClr val="000099"/>
            </a:solidFill>
          </a:endParaRPr>
        </a:p>
      </dsp:txBody>
      <dsp:txXfrm>
        <a:off x="18328" y="2163166"/>
        <a:ext cx="4859888" cy="338786"/>
      </dsp:txXfrm>
    </dsp:sp>
    <dsp:sp modelId="{CE738F54-57F2-424B-A5F2-6D6E7762DE87}">
      <dsp:nvSpPr>
        <dsp:cNvPr id="0" name=""/>
        <dsp:cNvSpPr/>
      </dsp:nvSpPr>
      <dsp:spPr>
        <a:xfrm>
          <a:off x="0" y="2736368"/>
          <a:ext cx="4896544" cy="576000"/>
        </a:xfrm>
        <a:prstGeom prst="round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0" kern="1200" dirty="0" smtClean="0">
              <a:solidFill>
                <a:srgbClr val="000099"/>
              </a:solidFill>
            </a:rPr>
            <a:t>Szállodai </a:t>
          </a:r>
          <a:r>
            <a:rPr lang="hu-HU" sz="1600" b="0" kern="1200" dirty="0" err="1" smtClean="0">
              <a:solidFill>
                <a:srgbClr val="000099"/>
              </a:solidFill>
            </a:rPr>
            <a:t>szolg</a:t>
          </a:r>
          <a:r>
            <a:rPr lang="hu-HU" sz="1600" b="0" kern="1200" dirty="0" smtClean="0">
              <a:solidFill>
                <a:srgbClr val="000099"/>
              </a:solidFill>
            </a:rPr>
            <a:t>. </a:t>
          </a:r>
          <a:r>
            <a:rPr lang="hu-HU" sz="1600" b="0" kern="1200" dirty="0" err="1" smtClean="0">
              <a:solidFill>
                <a:srgbClr val="000099"/>
              </a:solidFill>
            </a:rPr>
            <a:t>fel.bizt</a:t>
          </a:r>
          <a:r>
            <a:rPr lang="hu-HU" sz="1600" b="0" kern="1200" dirty="0" smtClean="0">
              <a:solidFill>
                <a:srgbClr val="000099"/>
              </a:solidFill>
            </a:rPr>
            <a:t>. </a:t>
          </a:r>
          <a:r>
            <a:rPr lang="hu-HU" sz="1600" b="0" kern="1200" dirty="0" err="1" smtClean="0">
              <a:solidFill>
                <a:srgbClr val="000099"/>
              </a:solidFill>
            </a:rPr>
            <a:t>kiterj</a:t>
          </a:r>
          <a:r>
            <a:rPr lang="hu-HU" sz="1600" b="0" kern="1200" dirty="0" smtClean="0">
              <a:solidFill>
                <a:srgbClr val="000099"/>
              </a:solidFill>
            </a:rPr>
            <a:t>. gépjárművek őrzésére</a:t>
          </a:r>
          <a:endParaRPr lang="hu-HU" sz="1600" b="0" kern="1200" dirty="0">
            <a:solidFill>
              <a:srgbClr val="000099"/>
            </a:solidFill>
          </a:endParaRPr>
        </a:p>
      </dsp:txBody>
      <dsp:txXfrm>
        <a:off x="28118" y="2764486"/>
        <a:ext cx="4840308" cy="519764"/>
      </dsp:txXfrm>
    </dsp:sp>
    <dsp:sp modelId="{974A5BE5-D813-4456-9EA4-6DAE465B9177}">
      <dsp:nvSpPr>
        <dsp:cNvPr id="0" name=""/>
        <dsp:cNvSpPr/>
      </dsp:nvSpPr>
      <dsp:spPr>
        <a:xfrm>
          <a:off x="0" y="3506118"/>
          <a:ext cx="4896544" cy="576000"/>
        </a:xfrm>
        <a:prstGeom prst="roundRect">
          <a:avLst/>
        </a:prstGeom>
        <a:solidFill>
          <a:srgbClr val="92D05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0" kern="1200" dirty="0" smtClean="0">
              <a:solidFill>
                <a:srgbClr val="000099"/>
              </a:solidFill>
            </a:rPr>
            <a:t>Európai kiterjesztés</a:t>
          </a:r>
          <a:endParaRPr lang="hu-HU" sz="1600" b="0" kern="1200" dirty="0">
            <a:solidFill>
              <a:srgbClr val="000099"/>
            </a:solidFill>
          </a:endParaRPr>
        </a:p>
      </dsp:txBody>
      <dsp:txXfrm>
        <a:off x="28118" y="3534236"/>
        <a:ext cx="4840308" cy="51976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FB77DC-89EE-4694-9DEF-A2A061C86D17}">
      <dsp:nvSpPr>
        <dsp:cNvPr id="0" name=""/>
        <dsp:cNvSpPr/>
      </dsp:nvSpPr>
      <dsp:spPr>
        <a:xfrm>
          <a:off x="0" y="0"/>
          <a:ext cx="8785225" cy="898560"/>
        </a:xfrm>
        <a:prstGeom prst="roundRect">
          <a:avLst/>
        </a:prstGeom>
        <a:solidFill>
          <a:srgbClr val="A7BCFF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i="0" kern="1200" dirty="0" smtClean="0">
              <a:solidFill>
                <a:srgbClr val="000099"/>
              </a:solidFill>
            </a:rPr>
            <a:t>Választható limitek</a:t>
          </a:r>
          <a:r>
            <a:rPr lang="hu-HU" sz="2400" kern="1200" dirty="0" smtClean="0">
              <a:solidFill>
                <a:srgbClr val="000099"/>
              </a:solidFill>
            </a:rPr>
            <a:t> (kombinált):</a:t>
          </a:r>
          <a:endParaRPr lang="hu-HU" sz="2400" kern="1200" dirty="0">
            <a:solidFill>
              <a:srgbClr val="000099"/>
            </a:solidFill>
          </a:endParaRPr>
        </a:p>
      </dsp:txBody>
      <dsp:txXfrm>
        <a:off x="43864" y="43864"/>
        <a:ext cx="8697497" cy="81083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6AC730-6235-4D83-B184-F5A362C4C7D3}">
      <dsp:nvSpPr>
        <dsp:cNvPr id="0" name=""/>
        <dsp:cNvSpPr/>
      </dsp:nvSpPr>
      <dsp:spPr>
        <a:xfrm>
          <a:off x="0" y="216018"/>
          <a:ext cx="8785225" cy="857801"/>
        </a:xfrm>
        <a:prstGeom prst="roundRect">
          <a:avLst/>
        </a:prstGeom>
        <a:solidFill>
          <a:srgbClr val="A7BCFF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0" kern="1200" dirty="0" smtClean="0">
              <a:solidFill>
                <a:srgbClr val="000099"/>
              </a:solidFill>
            </a:rPr>
            <a:t>Csomagok / Kártérítési limitek</a:t>
          </a:r>
        </a:p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kern="1200" dirty="0" smtClean="0">
              <a:solidFill>
                <a:srgbClr val="000099"/>
              </a:solidFill>
            </a:rPr>
            <a:t>Épület+ingóság vagy ingóság biztosítás mellé köthető</a:t>
          </a:r>
          <a:endParaRPr lang="hu-HU" sz="2200" kern="1200" dirty="0">
            <a:solidFill>
              <a:srgbClr val="000099"/>
            </a:solidFill>
          </a:endParaRPr>
        </a:p>
      </dsp:txBody>
      <dsp:txXfrm>
        <a:off x="41874" y="257892"/>
        <a:ext cx="8701477" cy="77405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58EDFA-C949-4F2F-91FA-2D8E2944BA9B}">
      <dsp:nvSpPr>
        <dsp:cNvPr id="0" name=""/>
        <dsp:cNvSpPr/>
      </dsp:nvSpPr>
      <dsp:spPr>
        <a:xfrm>
          <a:off x="0" y="407412"/>
          <a:ext cx="8785225" cy="2091375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2400" kern="1200" dirty="0" smtClean="0">
            <a:solidFill>
              <a:srgbClr val="000099"/>
            </a:solidFill>
          </a:endParaRPr>
        </a:p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>
              <a:solidFill>
                <a:srgbClr val="000099"/>
              </a:solidFill>
            </a:rPr>
            <a:t>Saját, bérelt (kölcsönvett, lízingelt, kipróbálásra átvett), </a:t>
          </a:r>
          <a:r>
            <a:rPr lang="hu-HU" sz="2400" b="1" kern="1200" dirty="0" smtClean="0">
              <a:solidFill>
                <a:srgbClr val="000099"/>
              </a:solidFill>
            </a:rPr>
            <a:t>számítógépek és számítógép vezérlésű berendezések </a:t>
          </a:r>
          <a:r>
            <a:rPr lang="hu-HU" sz="2400" b="0" kern="1200" dirty="0" smtClean="0">
              <a:solidFill>
                <a:srgbClr val="000099"/>
              </a:solidFill>
            </a:rPr>
            <a:t>(pl. </a:t>
          </a:r>
          <a:r>
            <a:rPr lang="hu-HU" sz="2400" b="0" kern="1200" dirty="0" err="1" smtClean="0">
              <a:solidFill>
                <a:srgbClr val="000099"/>
              </a:solidFill>
            </a:rPr>
            <a:t>légkondícionáló</a:t>
          </a:r>
          <a:r>
            <a:rPr lang="hu-HU" sz="2400" b="0" kern="1200" dirty="0" smtClean="0">
              <a:solidFill>
                <a:srgbClr val="000099"/>
              </a:solidFill>
            </a:rPr>
            <a:t>, orvosi műszerek, fényreklámok) – lista (</a:t>
          </a:r>
          <a:r>
            <a:rPr lang="hu-HU" sz="2400" b="0" kern="1200" dirty="0" err="1" smtClean="0">
              <a:solidFill>
                <a:srgbClr val="000099"/>
              </a:solidFill>
            </a:rPr>
            <a:t>kiv</a:t>
          </a:r>
          <a:r>
            <a:rPr lang="hu-HU" sz="2400" b="0" kern="1200" dirty="0" smtClean="0">
              <a:solidFill>
                <a:srgbClr val="000099"/>
              </a:solidFill>
            </a:rPr>
            <a:t>. számítógépek, ezekről elegendő az összesítő kitöltése)</a:t>
          </a:r>
          <a:endParaRPr lang="hu-HU" sz="2400" b="0" kern="1200" dirty="0">
            <a:solidFill>
              <a:srgbClr val="000099"/>
            </a:solidFill>
          </a:endParaRPr>
        </a:p>
      </dsp:txBody>
      <dsp:txXfrm>
        <a:off x="102093" y="509505"/>
        <a:ext cx="8581039" cy="1887189"/>
      </dsp:txXfrm>
    </dsp:sp>
    <dsp:sp modelId="{F5BCEDF9-FF2D-41A6-A7D5-F561DD9C9EE1}">
      <dsp:nvSpPr>
        <dsp:cNvPr id="0" name=""/>
        <dsp:cNvSpPr/>
      </dsp:nvSpPr>
      <dsp:spPr>
        <a:xfrm>
          <a:off x="0" y="2685987"/>
          <a:ext cx="8785225" cy="2091375"/>
        </a:xfrm>
        <a:prstGeom prst="round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solidFill>
                <a:srgbClr val="FF0000"/>
              </a:solidFill>
              <a:latin typeface="+mn-lt"/>
            </a:rPr>
            <a:t>Biztosítási események: </a:t>
          </a:r>
          <a:br>
            <a:rPr lang="hu-HU" sz="2000" b="1" kern="1200" dirty="0" smtClean="0">
              <a:solidFill>
                <a:srgbClr val="FF0000"/>
              </a:solidFill>
              <a:latin typeface="+mn-lt"/>
            </a:rPr>
          </a:br>
          <a:r>
            <a:rPr lang="hu-HU" sz="2000" b="1" kern="1200" dirty="0" smtClean="0">
              <a:solidFill>
                <a:srgbClr val="FF0000"/>
              </a:solidFill>
              <a:latin typeface="+mn-lt"/>
            </a:rPr>
            <a:t>- </a:t>
          </a:r>
          <a:r>
            <a:rPr lang="hu-HU" sz="20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kezelési hiba, ügyetlenség, gondatlanság</a:t>
          </a:r>
          <a:br>
            <a:rPr lang="hu-HU" sz="20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</a:br>
          <a:r>
            <a:rPr lang="hu-HU" sz="20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- külső, mechanikusan ható erőszak,</a:t>
          </a:r>
          <a:br>
            <a:rPr lang="hu-HU" sz="20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</a:br>
          <a:r>
            <a:rPr lang="hu-HU" sz="20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- leejtés, idegen tárgy ráejtése vagy ütközése</a:t>
          </a:r>
          <a:br>
            <a:rPr lang="hu-HU" sz="20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</a:br>
          <a:r>
            <a:rPr lang="hu-HU" sz="20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- földzárlat, rövidzárlat, az áramerősség túlzott megnövekedése, </a:t>
          </a:r>
          <a:br>
            <a:rPr lang="hu-HU" sz="20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</a:br>
          <a:r>
            <a:rPr lang="hu-HU" sz="2000" b="1" i="0" u="none" strike="noStrike" kern="1200" baseline="0" dirty="0" smtClean="0">
              <a:solidFill>
                <a:srgbClr val="FF0000"/>
              </a:solidFill>
              <a:latin typeface="+mn-lt"/>
              <a:ea typeface="+mn-ea"/>
              <a:cs typeface="+mn-cs"/>
            </a:rPr>
            <a:t>  átívelés, fényívek képződése</a:t>
          </a:r>
          <a:endParaRPr lang="hu-HU" sz="2000" b="1" kern="1200" dirty="0">
            <a:solidFill>
              <a:srgbClr val="FF0000"/>
            </a:solidFill>
            <a:latin typeface="+mn-lt"/>
          </a:endParaRPr>
        </a:p>
      </dsp:txBody>
      <dsp:txXfrm>
        <a:off x="102093" y="2788080"/>
        <a:ext cx="8581039" cy="1887189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EC5355-AA1C-48AE-BFC1-06925E81F9AB}">
      <dsp:nvSpPr>
        <dsp:cNvPr id="0" name=""/>
        <dsp:cNvSpPr/>
      </dsp:nvSpPr>
      <dsp:spPr>
        <a:xfrm>
          <a:off x="0" y="1258"/>
          <a:ext cx="8785225" cy="102523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0099"/>
              </a:solidFill>
            </a:rPr>
            <a:t>Tartam</a:t>
          </a:r>
          <a:r>
            <a:rPr lang="hu-HU" sz="2400" kern="1200" dirty="0" smtClean="0">
              <a:solidFill>
                <a:srgbClr val="000099"/>
              </a:solidFill>
            </a:rPr>
            <a:t>engedmény: </a:t>
          </a:r>
          <a:r>
            <a:rPr lang="hu-HU" sz="2400" b="1" kern="1200" dirty="0" smtClean="0">
              <a:solidFill>
                <a:srgbClr val="000099"/>
              </a:solidFill>
            </a:rPr>
            <a:t>10%</a:t>
          </a:r>
          <a:endParaRPr lang="hu-HU" sz="2400" b="1" kern="1200" dirty="0">
            <a:solidFill>
              <a:srgbClr val="000099"/>
            </a:solidFill>
          </a:endParaRPr>
        </a:p>
      </dsp:txBody>
      <dsp:txXfrm>
        <a:off x="50048" y="51306"/>
        <a:ext cx="8685129" cy="925139"/>
      </dsp:txXfrm>
    </dsp:sp>
    <dsp:sp modelId="{3F6F2818-34F7-4F38-BB0D-29A0DBDBA2E8}">
      <dsp:nvSpPr>
        <dsp:cNvPr id="0" name=""/>
        <dsp:cNvSpPr/>
      </dsp:nvSpPr>
      <dsp:spPr>
        <a:xfrm>
          <a:off x="0" y="1040514"/>
          <a:ext cx="8785225" cy="102523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0099"/>
              </a:solidFill>
            </a:rPr>
            <a:t>Díjfizetés gyakorisága</a:t>
          </a:r>
          <a:r>
            <a:rPr lang="hu-HU" sz="2400" kern="1200" dirty="0" smtClean="0">
              <a:solidFill>
                <a:srgbClr val="000099"/>
              </a:solidFill>
            </a:rPr>
            <a:t> szerinti kedvezmény:</a:t>
          </a:r>
        </a:p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kern="1200" dirty="0" smtClean="0">
              <a:solidFill>
                <a:srgbClr val="000099"/>
              </a:solidFill>
            </a:rPr>
            <a:t>½ éves díjfizetés </a:t>
          </a:r>
          <a:r>
            <a:rPr lang="hu-HU" sz="2400" b="1" kern="1200" dirty="0" smtClean="0">
              <a:solidFill>
                <a:srgbClr val="000099"/>
              </a:solidFill>
            </a:rPr>
            <a:t>2,5%</a:t>
          </a:r>
          <a:r>
            <a:rPr lang="hu-HU" sz="2400" kern="1200" dirty="0" smtClean="0">
              <a:solidFill>
                <a:srgbClr val="000099"/>
              </a:solidFill>
            </a:rPr>
            <a:t>     éves díjfizetés </a:t>
          </a:r>
          <a:r>
            <a:rPr lang="hu-HU" sz="2400" b="1" kern="1200" dirty="0" smtClean="0">
              <a:solidFill>
                <a:srgbClr val="000099"/>
              </a:solidFill>
            </a:rPr>
            <a:t>5%</a:t>
          </a:r>
          <a:endParaRPr lang="hu-HU" sz="2400" b="1" kern="1200" dirty="0">
            <a:solidFill>
              <a:srgbClr val="000099"/>
            </a:solidFill>
          </a:endParaRPr>
        </a:p>
      </dsp:txBody>
      <dsp:txXfrm>
        <a:off x="50048" y="1090562"/>
        <a:ext cx="8685129" cy="925139"/>
      </dsp:txXfrm>
    </dsp:sp>
    <dsp:sp modelId="{1A039D32-AC42-4054-8CCA-E11B6FB8115C}">
      <dsp:nvSpPr>
        <dsp:cNvPr id="0" name=""/>
        <dsp:cNvSpPr/>
      </dsp:nvSpPr>
      <dsp:spPr>
        <a:xfrm>
          <a:off x="0" y="2078433"/>
          <a:ext cx="8785225" cy="102523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0099"/>
              </a:solidFill>
            </a:rPr>
            <a:t>Speciális</a:t>
          </a:r>
          <a:r>
            <a:rPr lang="hu-HU" sz="2400" kern="1200" dirty="0" smtClean="0">
              <a:solidFill>
                <a:srgbClr val="000099"/>
              </a:solidFill>
            </a:rPr>
            <a:t> engedmény: 0-tól </a:t>
          </a:r>
          <a:r>
            <a:rPr lang="hu-HU" sz="2400" kern="1200" dirty="0" err="1" smtClean="0">
              <a:solidFill>
                <a:srgbClr val="000099"/>
              </a:solidFill>
            </a:rPr>
            <a:t>max</a:t>
          </a:r>
          <a:r>
            <a:rPr lang="hu-HU" sz="2400" kern="1200" dirty="0" smtClean="0">
              <a:solidFill>
                <a:srgbClr val="000099"/>
              </a:solidFill>
            </a:rPr>
            <a:t>. </a:t>
          </a:r>
          <a:r>
            <a:rPr lang="hu-HU" sz="2400" b="1" kern="1200" dirty="0" smtClean="0">
              <a:solidFill>
                <a:srgbClr val="000099"/>
              </a:solidFill>
            </a:rPr>
            <a:t>15%</a:t>
          </a:r>
          <a:r>
            <a:rPr lang="hu-HU" sz="2400" kern="1200" dirty="0" smtClean="0">
              <a:solidFill>
                <a:srgbClr val="000099"/>
              </a:solidFill>
            </a:rPr>
            <a:t>-ig</a:t>
          </a:r>
          <a:endParaRPr lang="hu-HU" sz="2400" kern="1200" dirty="0">
            <a:solidFill>
              <a:srgbClr val="000099"/>
            </a:solidFill>
          </a:endParaRPr>
        </a:p>
      </dsp:txBody>
      <dsp:txXfrm>
        <a:off x="50048" y="2128481"/>
        <a:ext cx="8685129" cy="925139"/>
      </dsp:txXfrm>
    </dsp:sp>
    <dsp:sp modelId="{A6BA2307-56B5-45E0-8DB5-411CDDFEFED7}">
      <dsp:nvSpPr>
        <dsp:cNvPr id="0" name=""/>
        <dsp:cNvSpPr/>
      </dsp:nvSpPr>
      <dsp:spPr>
        <a:xfrm>
          <a:off x="0" y="3119025"/>
          <a:ext cx="8785225" cy="102523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0099"/>
              </a:solidFill>
            </a:rPr>
            <a:t>Üzleti</a:t>
          </a:r>
          <a:r>
            <a:rPr lang="hu-HU" sz="2400" kern="1200" dirty="0" smtClean="0">
              <a:solidFill>
                <a:srgbClr val="000099"/>
              </a:solidFill>
            </a:rPr>
            <a:t> kedvezmény: </a:t>
          </a:r>
          <a:r>
            <a:rPr lang="hu-HU" sz="2400" b="1" kern="1200" dirty="0" smtClean="0">
              <a:solidFill>
                <a:srgbClr val="000099"/>
              </a:solidFill>
            </a:rPr>
            <a:t>20%</a:t>
          </a:r>
        </a:p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0099"/>
              </a:solidFill>
            </a:rPr>
            <a:t>(jutalékmentessé teszi a szerződést)</a:t>
          </a:r>
          <a:endParaRPr lang="hu-HU" sz="2400" b="1" kern="1200" dirty="0">
            <a:solidFill>
              <a:srgbClr val="000099"/>
            </a:solidFill>
          </a:endParaRPr>
        </a:p>
      </dsp:txBody>
      <dsp:txXfrm>
        <a:off x="50048" y="3169073"/>
        <a:ext cx="8685129" cy="925139"/>
      </dsp:txXfrm>
    </dsp:sp>
    <dsp:sp modelId="{D59553C3-8445-4642-BE4C-51963C49D3EB}">
      <dsp:nvSpPr>
        <dsp:cNvPr id="0" name=""/>
        <dsp:cNvSpPr/>
      </dsp:nvSpPr>
      <dsp:spPr>
        <a:xfrm>
          <a:off x="0" y="4158281"/>
          <a:ext cx="8785225" cy="102523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400" b="1" kern="1200" dirty="0" smtClean="0">
              <a:solidFill>
                <a:srgbClr val="000099"/>
              </a:solidFill>
            </a:rPr>
            <a:t>Csomag</a:t>
          </a:r>
          <a:r>
            <a:rPr lang="hu-HU" sz="2400" kern="1200" dirty="0" smtClean="0">
              <a:solidFill>
                <a:srgbClr val="000099"/>
              </a:solidFill>
            </a:rPr>
            <a:t>engedmény: </a:t>
          </a:r>
          <a:r>
            <a:rPr lang="hu-HU" sz="2400" kern="1200" dirty="0" err="1" smtClean="0">
              <a:solidFill>
                <a:srgbClr val="000099"/>
              </a:solidFill>
            </a:rPr>
            <a:t>max</a:t>
          </a:r>
          <a:r>
            <a:rPr lang="hu-HU" sz="2400" kern="1200" dirty="0" smtClean="0">
              <a:solidFill>
                <a:srgbClr val="000099"/>
              </a:solidFill>
            </a:rPr>
            <a:t>. </a:t>
          </a:r>
          <a:r>
            <a:rPr lang="hu-HU" sz="2400" b="1" kern="1200" dirty="0" smtClean="0">
              <a:solidFill>
                <a:srgbClr val="000099"/>
              </a:solidFill>
            </a:rPr>
            <a:t>10%</a:t>
          </a:r>
          <a:r>
            <a:rPr lang="hu-HU" sz="2400" kern="1200" dirty="0" smtClean="0">
              <a:solidFill>
                <a:srgbClr val="000099"/>
              </a:solidFill>
            </a:rPr>
            <a:t>	</a:t>
          </a:r>
          <a:endParaRPr lang="hu-HU" sz="2400" kern="1200" dirty="0">
            <a:solidFill>
              <a:srgbClr val="000099"/>
            </a:solidFill>
          </a:endParaRPr>
        </a:p>
      </dsp:txBody>
      <dsp:txXfrm>
        <a:off x="50048" y="4208329"/>
        <a:ext cx="8685129" cy="92513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390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4925" y="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39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070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390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4925" y="941070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F560A3B0-1003-4B4E-B68E-C7A40C91BB6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63287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4925" y="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0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875" y="4705350"/>
            <a:ext cx="4975225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smtClean="0"/>
              <a:t>Mintaszöveg szerkesztése </a:t>
            </a:r>
          </a:p>
          <a:p>
            <a:pPr lvl="1"/>
            <a:r>
              <a:rPr lang="hu-HU" altLang="hu-HU" smtClean="0"/>
              <a:t>Második szint</a:t>
            </a:r>
          </a:p>
          <a:p>
            <a:pPr lvl="2"/>
            <a:r>
              <a:rPr lang="hu-HU" altLang="hu-HU" smtClean="0"/>
              <a:t>Harmadik szint</a:t>
            </a:r>
          </a:p>
          <a:p>
            <a:pPr lvl="3"/>
            <a:r>
              <a:rPr lang="hu-HU" altLang="hu-HU" smtClean="0"/>
              <a:t>Negyedik szint</a:t>
            </a:r>
          </a:p>
          <a:p>
            <a:pPr lvl="4"/>
            <a:r>
              <a:rPr lang="hu-HU" altLang="hu-HU" smtClean="0"/>
              <a:t>Ötödik szint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1070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4925" y="941070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fld id="{C12554B8-EE2F-4EA8-94B9-8C273197A121}" type="slidenum">
              <a:rPr lang="hu-HU"/>
              <a:pPr>
                <a:defRPr/>
              </a:pPr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600688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B686B1-EF11-F64F-971C-A49D4AD13C3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69950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. kezelési hiba, ügyetlenség, gondatlanság, amennyiben a felsoroltak által előidézett sérülések vizuálisan, segédeszközök nélkül felismerhetők,</a:t>
            </a:r>
          </a:p>
          <a:p>
            <a:r>
              <a:rPr lang="hu-HU" dirty="0"/>
              <a:t>b) külső, mechanikusan ható erőszak,</a:t>
            </a:r>
          </a:p>
          <a:p>
            <a:r>
              <a:rPr lang="hu-HU" dirty="0"/>
              <a:t>c) leejtés, idegen tárgy ráejtése vagy ütközése, a biztosított vagyontárgyat tartó szerkezet rendeltetésszerű használata során bekövetkezett összeomlása,</a:t>
            </a:r>
          </a:p>
          <a:p>
            <a:r>
              <a:rPr lang="hu-HU" dirty="0"/>
              <a:t>d) elektromos energia közvetlen hatására földzárlat, rövidzárlat, az áramerősség túlzott megnövekedése, átívelés, fényívek képződése, ha a sérülések vizuálisan, segédeszközök nélkül felismerhetők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2554B8-EE2F-4EA8-94B9-8C273197A121}" type="slidenum">
              <a:rPr lang="hu-HU" smtClean="0"/>
              <a:pPr>
                <a:defRPr/>
              </a:pPr>
              <a:t>1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436210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2554B8-EE2F-4EA8-94B9-8C273197A121}" type="slidenum">
              <a:rPr lang="hu-HU" smtClean="0"/>
              <a:pPr>
                <a:defRPr/>
              </a:pPr>
              <a:t>2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21076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B686B1-EF11-F64F-971C-A49D4AD13C35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33159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>
          <a:xfrm>
            <a:off x="915988" y="741363"/>
            <a:ext cx="4953000" cy="3716337"/>
          </a:xfrm>
        </p:spPr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CC21DC-11E6-4241-A3F6-AF499973DE6E}" type="slidenum">
              <a:rPr lang="hu-HU" smtClean="0"/>
              <a:pPr>
                <a:defRPr/>
              </a:pPr>
              <a:t>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5526598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2554B8-EE2F-4EA8-94B9-8C273197A121}" type="slidenum">
              <a:rPr lang="hu-HU" smtClean="0"/>
              <a:pPr>
                <a:defRPr/>
              </a:pPr>
              <a:t>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471656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Vihar: 15meter/</a:t>
            </a:r>
            <a:r>
              <a:rPr lang="hu-HU" dirty="0" err="1" smtClean="0"/>
              <a:t>secundum</a:t>
            </a:r>
            <a:r>
              <a:rPr lang="hu-HU" baseline="0" dirty="0" smtClean="0"/>
              <a:t> = 54 km/óra</a:t>
            </a:r>
          </a:p>
          <a:p>
            <a:r>
              <a:rPr lang="hu-HU" baseline="0" dirty="0" smtClean="0"/>
              <a:t>Felhőszakadás: min. 0,5mm/perc</a:t>
            </a:r>
          </a:p>
          <a:p>
            <a:r>
              <a:rPr lang="hu-HU" baseline="0" dirty="0" smtClean="0"/>
              <a:t>Földrengés: </a:t>
            </a:r>
            <a:r>
              <a:rPr lang="hu-HU" baseline="0" dirty="0" err="1" smtClean="0"/>
              <a:t>Mercalli-Sieberg</a:t>
            </a:r>
            <a:r>
              <a:rPr lang="hu-HU" baseline="0" dirty="0" smtClean="0"/>
              <a:t> skálán elért 5-ös fokozat (Richter skála 4,</a:t>
            </a:r>
            <a:r>
              <a:rPr lang="hu-HU" baseline="0" dirty="0" err="1" smtClean="0"/>
              <a:t>4</a:t>
            </a:r>
            <a:r>
              <a:rPr lang="hu-HU" baseline="0" dirty="0" smtClean="0"/>
              <a:t>)</a:t>
            </a:r>
            <a:endParaRPr lang="hu-HU" dirty="0" smtClean="0"/>
          </a:p>
          <a:p>
            <a:endParaRPr lang="hu-HU" dirty="0" smtClean="0"/>
          </a:p>
          <a:p>
            <a:r>
              <a:rPr lang="hu-HU" dirty="0" smtClean="0"/>
              <a:t>Vandalizmus </a:t>
            </a:r>
            <a:r>
              <a:rPr lang="hu-HU" b="1" dirty="0"/>
              <a:t>nem téríti meg:</a:t>
            </a:r>
            <a:r>
              <a:rPr lang="hu-HU" dirty="0"/>
              <a:t/>
            </a:r>
            <a:br>
              <a:rPr lang="hu-HU" dirty="0"/>
            </a:br>
            <a:r>
              <a:rPr lang="hu-HU" b="1" dirty="0"/>
              <a:t>a) az eltulajdonítás miatti károkat, valamint a betöréses lopás, illetve annak kísérlete során okozott rongálási károkat;</a:t>
            </a:r>
            <a:r>
              <a:rPr lang="hu-HU" dirty="0"/>
              <a:t/>
            </a:r>
            <a:br>
              <a:rPr lang="hu-HU" dirty="0"/>
            </a:br>
            <a:r>
              <a:rPr lang="hu-HU" b="1" dirty="0"/>
              <a:t>b)a </a:t>
            </a:r>
            <a:r>
              <a:rPr lang="hu-HU" b="1" dirty="0" err="1"/>
              <a:t>graffitti</a:t>
            </a:r>
            <a:r>
              <a:rPr lang="hu-HU" b="1" dirty="0"/>
              <a:t>(k) által okozott kárt, illetve a </a:t>
            </a:r>
            <a:r>
              <a:rPr lang="hu-HU" b="1" dirty="0" err="1"/>
              <a:t>graffitti</a:t>
            </a:r>
            <a:r>
              <a:rPr lang="hu-HU" b="1" dirty="0"/>
              <a:t>(k) eltávolításának költségeit;</a:t>
            </a:r>
            <a:r>
              <a:rPr lang="hu-HU" dirty="0"/>
              <a:t/>
            </a:r>
            <a:br>
              <a:rPr lang="hu-HU" dirty="0"/>
            </a:br>
            <a:r>
              <a:rPr lang="hu-HU" b="1" dirty="0"/>
              <a:t>c) bármilyen üveg törése miatti károkat;</a:t>
            </a:r>
            <a:r>
              <a:rPr lang="hu-HU" dirty="0"/>
              <a:t/>
            </a:r>
            <a:br>
              <a:rPr lang="hu-HU" dirty="0"/>
            </a:br>
            <a:r>
              <a:rPr lang="hu-HU" b="1" dirty="0"/>
              <a:t>d) a rendetetésszerű használatot nem befolyásoló esztétikai károkat</a:t>
            </a:r>
            <a:r>
              <a:rPr lang="hu-HU" dirty="0"/>
              <a:t/>
            </a:r>
            <a:br>
              <a:rPr lang="hu-HU" dirty="0"/>
            </a:b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2554B8-EE2F-4EA8-94B9-8C273197A121}" type="slidenum">
              <a:rPr lang="hu-HU" smtClean="0"/>
              <a:pPr>
                <a:defRPr/>
              </a:pPr>
              <a:t>9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9344340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10">
              <a:defRPr/>
            </a:pPr>
            <a:r>
              <a:rPr lang="hu-HU" dirty="0"/>
              <a:t>ALAP csomag egyéb kiegészítő fedezetek:</a:t>
            </a:r>
          </a:p>
          <a:p>
            <a:pPr defTabSz="914210">
              <a:defRPr/>
            </a:pPr>
            <a:r>
              <a:rPr lang="hu-HU" dirty="0"/>
              <a:t>–a biztosított által saját beruházásban létesített kerítésében, az épületen rögzített napvédő vagy esővédő tetőkben, füstölőkamrák, szárító és más melegítő berendezések tartalmában  </a:t>
            </a:r>
            <a:r>
              <a:rPr lang="hu-HU" dirty="0" err="1"/>
              <a:t>tartalmában</a:t>
            </a:r>
            <a:r>
              <a:rPr lang="hu-HU" dirty="0"/>
              <a:t> tűz, robbanás, villámcsapás, légi jármű lezuhanása által okozott károkra;</a:t>
            </a:r>
            <a:br>
              <a:rPr lang="hu-HU" dirty="0"/>
            </a:br>
            <a:r>
              <a:rPr lang="hu-HU" dirty="0"/>
              <a:t>––a biztosított helyiségeken kívül elhelyezett értékesítő automaták tartalmában keletkezett tűz, robbanás, villámcsapás, légi jármű lezuhanása, vihar, felhőszakadás, jégverés, </a:t>
            </a:r>
            <a:r>
              <a:rPr lang="hu-HU" dirty="0" err="1"/>
              <a:t>hónyomás</a:t>
            </a:r>
            <a:r>
              <a:rPr lang="hu-HU" dirty="0"/>
              <a:t>, földrengés által okozott károkra;</a:t>
            </a:r>
            <a:br>
              <a:rPr lang="hu-HU" dirty="0"/>
            </a:br>
            <a:r>
              <a:rPr lang="hu-HU" dirty="0"/>
              <a:t>–munkavállalók vagyontárgyaiban (kivéve: értéktárgyak és gépjárművek) keletkezett tűz, robbanás, villámcsapás, légi jármű lezuhanása, vihar, felhőszakadás, jégverés, </a:t>
            </a:r>
            <a:r>
              <a:rPr lang="hu-HU" dirty="0" err="1"/>
              <a:t>hónyomás</a:t>
            </a:r>
            <a:r>
              <a:rPr lang="hu-HU" dirty="0"/>
              <a:t>, földrengés, valamint betöréses lopás által okozott károkra.</a:t>
            </a:r>
            <a:br>
              <a:rPr lang="hu-HU" dirty="0"/>
            </a:br>
            <a:r>
              <a:rPr lang="hu-HU" dirty="0"/>
              <a:t>–Megtéríti a biztosító a betöréses lopás és rablás károkat is, ha arra is megkötötték a biztosítást.</a:t>
            </a:r>
            <a:br>
              <a:rPr lang="hu-HU" dirty="0"/>
            </a:br>
            <a:endParaRPr lang="hu-HU" dirty="0" smtClean="0"/>
          </a:p>
          <a:p>
            <a:r>
              <a:rPr lang="hu-HU" dirty="0"/>
              <a:t>TELJES csomag:</a:t>
            </a:r>
          </a:p>
          <a:p>
            <a:r>
              <a:rPr lang="hu-HU" dirty="0"/>
              <a:t>Hűtött áruk: biztosított élelmiszer vagy gyógyszer elégtelen hűtése következtében keletkezett dologi károkra terjed ki, n</a:t>
            </a:r>
            <a:r>
              <a:rPr lang="hu-HU" b="1" dirty="0"/>
              <a:t>em terjed ki a biztosítás hűtőházakra és fagyasztókamrákra. </a:t>
            </a:r>
            <a:r>
              <a:rPr lang="hu-HU" dirty="0"/>
              <a:t/>
            </a:r>
            <a:br>
              <a:rPr lang="hu-HU" dirty="0"/>
            </a:br>
            <a:endParaRPr lang="hu-HU" dirty="0"/>
          </a:p>
          <a:p>
            <a:r>
              <a:rPr lang="hu-HU" dirty="0"/>
              <a:t>EXTRA csomag:</a:t>
            </a:r>
          </a:p>
          <a:p>
            <a:r>
              <a:rPr lang="hu-HU" dirty="0"/>
              <a:t>Kiállítás- és vásárbiztosítás: tűz, robbanás, villámcsapás, vihar, felhőszakadás, jégverés, </a:t>
            </a:r>
            <a:r>
              <a:rPr lang="hu-HU" dirty="0" err="1"/>
              <a:t>hónyomás</a:t>
            </a:r>
            <a:r>
              <a:rPr lang="hu-HU" dirty="0"/>
              <a:t>, földrengés károkat a szerződésben megjelölt limit mértékéig, amennyiben azok más biztosítás alapján nem térülnek. Ha betöréses lopásra is szól a szerződés, akkor az ott megjelölt limitig arra is kiterjed.  Előzetes bejelentéshez kötött!</a:t>
            </a:r>
          </a:p>
          <a:p>
            <a:endParaRPr lang="hu-HU" dirty="0"/>
          </a:p>
          <a:p>
            <a:pPr defTabSz="914210">
              <a:defRPr/>
            </a:pPr>
            <a:r>
              <a:rPr lang="hu-HU" kern="0" dirty="0">
                <a:solidFill>
                  <a:srgbClr val="000099"/>
                </a:solidFill>
              </a:rPr>
              <a:t>Idegen tulajdonú telephelyen elhelyezett vagyontárgyak</a:t>
            </a:r>
          </a:p>
          <a:p>
            <a:r>
              <a:rPr lang="hu-HU" dirty="0"/>
              <a:t>A biztosítási összegen belül a biztosítási szerződésben meghatározott limit erejéig a biztosítási fedezet kiterjed a tűz, robbanás, villámcsapás, személyzettel ellátott, irányított légi járművek, valamint azok alkatrészeinek és rakományainak lezuhanása, vihar, felhőszakadás, jégverés, </a:t>
            </a:r>
            <a:r>
              <a:rPr lang="hu-HU" dirty="0" err="1"/>
              <a:t>hónyomás</a:t>
            </a:r>
            <a:r>
              <a:rPr lang="hu-HU" dirty="0"/>
              <a:t>, vezetékes vízkár, valamint betöréses lopás és rablás biztosítási eseményekre. A biztosítási tartam egy biztosítási időszakon belül egy alkalommal, megszakítás nélkül történő elhelyezés esetén és maximum három hónap időtartamra áll fenn.</a:t>
            </a:r>
            <a:br>
              <a:rPr lang="hu-HU" dirty="0"/>
            </a:br>
            <a:r>
              <a:rPr lang="hu-HU" b="1" dirty="0"/>
              <a:t>Nem téríti meg azokat a károkat a biztosító, amelyek</a:t>
            </a:r>
            <a:r>
              <a:rPr lang="hu-HU" dirty="0"/>
              <a:t/>
            </a:r>
            <a:br>
              <a:rPr lang="hu-HU" dirty="0"/>
            </a:br>
            <a:r>
              <a:rPr lang="hu-HU" b="1" dirty="0"/>
              <a:t>– kiállítások, bemutatók, vásárok területén elhelyezett; – építkezési területeken elhelyezett; – bérlet címén átadott; – lízing címén átadott;  – kipróbálás céljából átadott</a:t>
            </a:r>
            <a:r>
              <a:rPr lang="hu-HU" dirty="0"/>
              <a:t/>
            </a:r>
            <a:br>
              <a:rPr lang="hu-HU" dirty="0"/>
            </a:br>
            <a:endParaRPr lang="hu-HU" dirty="0"/>
          </a:p>
          <a:p>
            <a:r>
              <a:rPr lang="hu-HU" b="1" i="1" dirty="0"/>
              <a:t>Árukban és készletekben keletkezett károk Magyarország határain belüli szállítás során</a:t>
            </a:r>
            <a:r>
              <a:rPr lang="hu-HU" b="1" dirty="0"/>
              <a:t/>
            </a:r>
            <a:br>
              <a:rPr lang="hu-HU" b="1" dirty="0"/>
            </a:br>
            <a:r>
              <a:rPr lang="hu-HU" dirty="0"/>
              <a:t>Megtéríti a biztosító a belföldről, belföldi rendeltetési helyre történő szállítás tartama alatt a biztosított vagyontárgyakban az alábbi események miatt bekövetkezett károkat:</a:t>
            </a:r>
            <a:br>
              <a:rPr lang="hu-HU" dirty="0"/>
            </a:br>
            <a:r>
              <a:rPr lang="hu-HU" dirty="0"/>
              <a:t>–tűz, robbanás, villámcsapás, légi jármű lezuhanása, vihar, felhőszakadás, jégverés, </a:t>
            </a:r>
            <a:r>
              <a:rPr lang="hu-HU" dirty="0" err="1"/>
              <a:t>hónyomás</a:t>
            </a:r>
            <a:r>
              <a:rPr lang="hu-HU" dirty="0"/>
              <a:t>, földrengés, valamint a szállító gépjárművet ért baleset. Évi korlátlan számú útra érvényes. A biztosító kockázatviselése akkor kezdődik, amikor a szállítmány fuvarozás céljából a járműbe berakásra került, és akkor fejeződik be, amikor a szállítmány a rendeltetési helyre megérkezik (átadás, átvétel helye). (tehát rakodásra nem vonatkozik!)</a:t>
            </a:r>
            <a:br>
              <a:rPr lang="hu-HU" dirty="0"/>
            </a:br>
            <a:r>
              <a:rPr lang="hu-HU" b="1" dirty="0"/>
              <a:t>Nem terjed ki a) </a:t>
            </a:r>
            <a:r>
              <a:rPr lang="hu-HU" b="1" dirty="0" err="1"/>
              <a:t>a</a:t>
            </a:r>
            <a:r>
              <a:rPr lang="hu-HU" b="1" dirty="0"/>
              <a:t> biztosított vagyontárgyak elvesztése; b) gépjármű feltörésével okozott, lopásból eredő károk; c) rablással okozott károk</a:t>
            </a:r>
            <a:r>
              <a:rPr lang="hu-HU" dirty="0"/>
              <a:t/>
            </a:r>
            <a:br>
              <a:rPr lang="hu-HU" dirty="0"/>
            </a:br>
            <a:endParaRPr lang="hu-HU" dirty="0"/>
          </a:p>
          <a:p>
            <a:endParaRPr lang="hu-HU" dirty="0" smtClean="0"/>
          </a:p>
          <a:p>
            <a:endParaRPr lang="hu-HU" dirty="0" smtClean="0"/>
          </a:p>
          <a:p>
            <a:endParaRPr lang="hu-HU" dirty="0" smtClean="0"/>
          </a:p>
          <a:p>
            <a:r>
              <a:rPr lang="hu-HU" dirty="0"/>
              <a:t/>
            </a:r>
            <a:br>
              <a:rPr lang="hu-HU" dirty="0"/>
            </a:br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2554B8-EE2F-4EA8-94B9-8C273197A121}" type="slidenum">
              <a:rPr lang="hu-HU" smtClean="0"/>
              <a:pPr>
                <a:defRPr/>
              </a:pPr>
              <a:t>10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000368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2554B8-EE2F-4EA8-94B9-8C273197A121}" type="slidenum">
              <a:rPr lang="hu-HU" smtClean="0"/>
              <a:pPr>
                <a:defRPr/>
              </a:pPr>
              <a:t>11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534530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2554B8-EE2F-4EA8-94B9-8C273197A121}" type="slidenum">
              <a:rPr lang="hu-HU" smtClean="0"/>
              <a:pPr>
                <a:defRPr/>
              </a:pPr>
              <a:t>1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408260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biztosítási eseménynek minősül a gép teljes vagy részleges működésképtelenségét okozó géptörés, vagy gépbaleset, amennyiben annak oka:</a:t>
            </a:r>
          </a:p>
          <a:p>
            <a:r>
              <a:rPr lang="fi-FI" dirty="0"/>
              <a:t>a) tervezési vagy kivitelezési hiba,</a:t>
            </a:r>
          </a:p>
          <a:p>
            <a:r>
              <a:rPr lang="hu-HU" dirty="0"/>
              <a:t>b) anyaghiba,</a:t>
            </a:r>
          </a:p>
          <a:p>
            <a:r>
              <a:rPr lang="hu-HU" dirty="0"/>
              <a:t>c) rázkódás (rezonancia),</a:t>
            </a:r>
          </a:p>
          <a:p>
            <a:r>
              <a:rPr lang="hu-HU" dirty="0"/>
              <a:t>d) alkatrészek kilazulása,</a:t>
            </a:r>
          </a:p>
          <a:p>
            <a:r>
              <a:rPr lang="hu-HU" dirty="0"/>
              <a:t>e) hibás beállítás vagy szabályozás,</a:t>
            </a:r>
          </a:p>
          <a:p>
            <a:r>
              <a:rPr lang="hu-HU" dirty="0"/>
              <a:t>f) rossz elhelyezés, telepítés,</a:t>
            </a:r>
          </a:p>
          <a:p>
            <a:r>
              <a:rPr lang="hu-HU" dirty="0"/>
              <a:t>g) olajozás, kenés kimaradása,</a:t>
            </a:r>
          </a:p>
          <a:p>
            <a:r>
              <a:rPr lang="hu-HU" dirty="0"/>
              <a:t>h) túlterhelés, túlhevülés, kivéve a hőnek, lángnak rendeltetésszerűen kitett berendezések, gépek,</a:t>
            </a:r>
          </a:p>
          <a:p>
            <a:r>
              <a:rPr lang="hu-HU" dirty="0"/>
              <a:t>i) túlpörgés (centrifugális erő hatása),</a:t>
            </a:r>
          </a:p>
          <a:p>
            <a:r>
              <a:rPr lang="hu-HU" dirty="0"/>
              <a:t>j) szigetelési hiba,</a:t>
            </a:r>
          </a:p>
          <a:p>
            <a:r>
              <a:rPr lang="hu-HU" dirty="0"/>
              <a:t>k) mérő-, szabályozó, vezérlő- és biztonsági berendezések meghibásodása,</a:t>
            </a:r>
          </a:p>
          <a:p>
            <a:r>
              <a:rPr lang="hu-HU" dirty="0"/>
              <a:t>l) leesés, lökés, ütközés,</a:t>
            </a:r>
          </a:p>
          <a:p>
            <a:r>
              <a:rPr lang="hu-HU" dirty="0"/>
              <a:t>m) a gépet üzemeltető dolgozó figyelmetlensége, gyakorlatának hiánya, szakmai tévedése,</a:t>
            </a:r>
          </a:p>
          <a:p>
            <a:r>
              <a:rPr lang="hu-HU" dirty="0"/>
              <a:t>n) a biztosított más alkalmazottja, vagy harmadik személy szerződésen kívüli gondatlan károkozása.</a:t>
            </a: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2554B8-EE2F-4EA8-94B9-8C273197A121}" type="slidenum">
              <a:rPr lang="hu-HU" smtClean="0"/>
              <a:pPr>
                <a:defRPr/>
              </a:pPr>
              <a:t>1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72395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2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692150" y="3886200"/>
            <a:ext cx="6400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mtClean="0"/>
            </a:lvl1pPr>
          </a:lstStyle>
          <a:p>
            <a:pPr lvl="0"/>
            <a:r>
              <a:rPr lang="hu-HU" altLang="hu-HU" noProof="0" smtClean="0"/>
              <a:t>Alcím mintájának szerkesztése</a:t>
            </a:r>
          </a:p>
        </p:txBody>
      </p:sp>
      <p:sp>
        <p:nvSpPr>
          <p:cNvPr id="31747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 sz="3600" smtClean="0"/>
            </a:lvl1pPr>
          </a:lstStyle>
          <a:p>
            <a:pPr lvl="0"/>
            <a:r>
              <a:rPr lang="hu-HU" altLang="hu-HU" noProof="0" smtClean="0"/>
              <a:t>Mintacím szerkesztése</a:t>
            </a:r>
          </a:p>
        </p:txBody>
      </p:sp>
      <p:sp>
        <p:nvSpPr>
          <p:cNvPr id="1056" name="Rectangle 32"/>
          <p:cNvSpPr>
            <a:spLocks noChangeArrowheads="1"/>
          </p:cNvSpPr>
          <p:nvPr/>
        </p:nvSpPr>
        <p:spPr bwMode="auto">
          <a:xfrm>
            <a:off x="3155950" y="6308725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algn="ctr">
              <a:defRPr/>
            </a:pPr>
            <a:fld id="{E8610090-756F-4FD2-9F27-29F8FD573AA1}" type="slidenum">
              <a:rPr lang="en-GB" sz="1000"/>
              <a:pPr algn="ctr">
                <a:defRPr/>
              </a:pPr>
              <a:t>‹#›</a:t>
            </a:fld>
            <a:endParaRPr lang="en-GB" sz="1000" dirty="0"/>
          </a:p>
        </p:txBody>
      </p:sp>
      <p:pic>
        <p:nvPicPr>
          <p:cNvPr id="31749" name="Kép 6" descr="Union Biztosito_4c_rgb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188913"/>
            <a:ext cx="2089150" cy="912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zövegdoboz 9"/>
          <p:cNvSpPr txBox="1"/>
          <p:nvPr/>
        </p:nvSpPr>
        <p:spPr>
          <a:xfrm>
            <a:off x="107950" y="6556375"/>
            <a:ext cx="2376488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hu-HU" sz="1000" dirty="0" err="1"/>
              <a:t>www.unionbiztosito.hu</a:t>
            </a:r>
            <a:endParaRPr lang="hu-HU" sz="1000" dirty="0"/>
          </a:p>
        </p:txBody>
      </p:sp>
      <p:sp>
        <p:nvSpPr>
          <p:cNvPr id="9" name="Rectangle 32"/>
          <p:cNvSpPr>
            <a:spLocks noChangeArrowheads="1"/>
          </p:cNvSpPr>
          <p:nvPr/>
        </p:nvSpPr>
        <p:spPr bwMode="auto">
          <a:xfrm>
            <a:off x="6011863" y="636270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algn="ctr">
              <a:defRPr/>
            </a:pPr>
            <a:endParaRPr lang="en-GB" sz="1000" dirty="0"/>
          </a:p>
        </p:txBody>
      </p:sp>
      <p:sp>
        <p:nvSpPr>
          <p:cNvPr id="11" name="Szövegdoboz 10"/>
          <p:cNvSpPr txBox="1"/>
          <p:nvPr/>
        </p:nvSpPr>
        <p:spPr>
          <a:xfrm>
            <a:off x="7451725" y="6524625"/>
            <a:ext cx="1692275" cy="2476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fld id="{FE23BA7F-04AD-412D-B151-831A36F667B0}" type="datetime1">
              <a:rPr lang="hu-HU" sz="1000"/>
              <a:pPr algn="r">
                <a:defRPr/>
              </a:pPr>
              <a:t>2017. 05. 18.</a:t>
            </a:fld>
            <a:endParaRPr lang="hu-HU" sz="1000" dirty="0"/>
          </a:p>
        </p:txBody>
      </p:sp>
      <p:cxnSp>
        <p:nvCxnSpPr>
          <p:cNvPr id="31753" name="Egyenes összekötő 8"/>
          <p:cNvCxnSpPr>
            <a:cxnSpLocks noChangeShapeType="1"/>
          </p:cNvCxnSpPr>
          <p:nvPr/>
        </p:nvCxnSpPr>
        <p:spPr bwMode="auto">
          <a:xfrm>
            <a:off x="250825" y="895350"/>
            <a:ext cx="6445250" cy="0"/>
          </a:xfrm>
          <a:prstGeom prst="line">
            <a:avLst/>
          </a:prstGeom>
          <a:noFill/>
          <a:ln w="31750" algn="ctr">
            <a:solidFill>
              <a:srgbClr val="DD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  <p:hf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743817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846888" y="76200"/>
            <a:ext cx="2220912" cy="6145213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179388" y="76200"/>
            <a:ext cx="6515100" cy="6145213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6150522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156798"/>
            <a:ext cx="6887557" cy="763138"/>
          </a:xfrm>
        </p:spPr>
        <p:txBody>
          <a:bodyPr/>
          <a:lstStyle/>
          <a:p>
            <a:r>
              <a:rPr lang="de-AT" dirty="0" smtClean="0"/>
              <a:t>Mastertitelformat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0825" y="1328738"/>
            <a:ext cx="8629650" cy="4976812"/>
          </a:xfrm>
        </p:spPr>
        <p:txBody>
          <a:bodyPr/>
          <a:lstStyle/>
          <a:p>
            <a:pPr lvl="0"/>
            <a:r>
              <a:rPr lang="de-AT" dirty="0" smtClean="0"/>
              <a:t>Mastertextformat bearbeiten</a:t>
            </a:r>
          </a:p>
          <a:p>
            <a:pPr lvl="1"/>
            <a:r>
              <a:rPr lang="de-AT" dirty="0" smtClean="0"/>
              <a:t>Zweite Ebene</a:t>
            </a:r>
          </a:p>
          <a:p>
            <a:pPr lvl="2"/>
            <a:r>
              <a:rPr lang="de-AT" dirty="0" smtClean="0"/>
              <a:t>Dritte Ebene</a:t>
            </a:r>
          </a:p>
          <a:p>
            <a:pPr lvl="3"/>
            <a:r>
              <a:rPr lang="de-AT" dirty="0" smtClean="0"/>
              <a:t>Vierte Ebene</a:t>
            </a:r>
          </a:p>
          <a:p>
            <a:pPr lvl="4"/>
            <a:r>
              <a:rPr lang="de-AT" dirty="0" smtClean="0"/>
              <a:t>Fünfte Ebene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50825" y="880589"/>
            <a:ext cx="8244239" cy="401752"/>
          </a:xfrm>
        </p:spPr>
        <p:txBody>
          <a:bodyPr anchor="t">
            <a:normAutofit/>
          </a:bodyPr>
          <a:lstStyle>
            <a:lvl1pPr>
              <a:defRPr sz="1800"/>
            </a:lvl1pPr>
          </a:lstStyle>
          <a:p>
            <a:pPr lvl="0"/>
            <a:r>
              <a:rPr lang="de-AT" dirty="0" smtClean="0"/>
              <a:t>Mastertextformat bearbeiten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>
          <a:xfrm>
            <a:off x="250825" y="6305550"/>
            <a:ext cx="8545513" cy="456893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7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8038322" y="6487270"/>
            <a:ext cx="944632" cy="27879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31A11F-3C58-714F-BABB-8D988CD72E81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90375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5" name="think-cell Folie" r:id="rId5" imgW="572" imgH="572" progId="TCLayout.ActiveDocument.1">
                  <p:embed/>
                </p:oleObj>
              </mc:Choice>
              <mc:Fallback>
                <p:oleObj name="think-cell Folie" r:id="rId5" imgW="572" imgH="5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21166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000" b="1">
              <a:solidFill>
                <a:prstClr val="white"/>
              </a:solidFill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8764" y="72001"/>
            <a:ext cx="7175706" cy="768000"/>
          </a:xfrm>
        </p:spPr>
        <p:txBody>
          <a:bodyPr/>
          <a:lstStyle/>
          <a:p>
            <a:r>
              <a:rPr lang="de-AT" dirty="0" smtClean="0"/>
              <a:t>Mastertitelformat bearbeit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58765" y="696575"/>
            <a:ext cx="8236301" cy="401752"/>
          </a:xfrm>
        </p:spPr>
        <p:txBody>
          <a:bodyPr anchor="t">
            <a:noAutofit/>
          </a:bodyPr>
          <a:lstStyle>
            <a:lvl1pPr>
              <a:defRPr sz="1800"/>
            </a:lvl1pPr>
          </a:lstStyle>
          <a:p>
            <a:pPr lvl="0"/>
            <a:r>
              <a:rPr lang="de-AT" dirty="0" smtClean="0"/>
              <a:t>Mastertextformat bearbeiten</a:t>
            </a:r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>
          <a:xfrm>
            <a:off x="250825" y="6305550"/>
            <a:ext cx="8545513" cy="456893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8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8509430" y="6485005"/>
            <a:ext cx="468000" cy="27879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31A11F-3C58-714F-BABB-8D988CD72E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941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02508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600" b="1" cap="all"/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/>
          <a:lstStyle>
            <a:lvl1pPr marL="0" indent="0" algn="l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18493289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179388" y="1268760"/>
            <a:ext cx="4316412" cy="518457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268760"/>
            <a:ext cx="4316413" cy="518457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9806814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51520" y="332656"/>
            <a:ext cx="5915000" cy="490066"/>
          </a:xfr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196752"/>
            <a:ext cx="4040188" cy="97812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4"/>
            <a:ext cx="4040188" cy="43504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196752"/>
            <a:ext cx="4041775" cy="97812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4"/>
            <a:ext cx="4041775" cy="43504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946286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229009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57973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67544" y="1340768"/>
            <a:ext cx="3008313" cy="3103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 dirty="0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1340768"/>
            <a:ext cx="5111750" cy="5184576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 dirty="0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628800"/>
            <a:ext cx="3008313" cy="48965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2325390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1196751"/>
            <a:ext cx="5486400" cy="353082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hu-HU" noProof="0" smtClean="0"/>
              <a:t>Kép beszúrásához kattintson az ikonra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</p:spTree>
    <p:extLst>
      <p:ext uri="{BB962C8B-B14F-4D97-AF65-F5344CB8AC3E}">
        <p14:creationId xmlns:p14="http://schemas.microsoft.com/office/powerpoint/2010/main" val="4186842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268413"/>
            <a:ext cx="8785225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smtClean="0"/>
              <a:t>Mintaszöveg szerkesztése</a:t>
            </a:r>
          </a:p>
          <a:p>
            <a:pPr lvl="1"/>
            <a:r>
              <a:rPr lang="hu-HU" altLang="hu-HU" smtClean="0"/>
              <a:t>Második szint</a:t>
            </a:r>
          </a:p>
          <a:p>
            <a:pPr lvl="2"/>
            <a:r>
              <a:rPr lang="hu-HU" altLang="hu-HU" smtClean="0"/>
              <a:t>Harmadik szint</a:t>
            </a:r>
          </a:p>
          <a:p>
            <a:pPr lvl="3"/>
            <a:r>
              <a:rPr lang="hu-HU" altLang="hu-HU" smtClean="0"/>
              <a:t>Negyedik szint</a:t>
            </a:r>
          </a:p>
          <a:p>
            <a:pPr lvl="4"/>
            <a:r>
              <a:rPr lang="hu-HU" altLang="hu-HU" smtClean="0"/>
              <a:t>Ötödik szint</a:t>
            </a: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260350"/>
            <a:ext cx="651192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hu-HU" altLang="hu-HU" smtClean="0"/>
          </a:p>
        </p:txBody>
      </p:sp>
      <p:sp>
        <p:nvSpPr>
          <p:cNvPr id="1056" name="Rectangle 32"/>
          <p:cNvSpPr>
            <a:spLocks noChangeArrowheads="1"/>
          </p:cNvSpPr>
          <p:nvPr/>
        </p:nvSpPr>
        <p:spPr bwMode="auto">
          <a:xfrm>
            <a:off x="3155950" y="6308725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algn="ctr">
              <a:defRPr/>
            </a:pPr>
            <a:fld id="{F46483D1-724B-4DFE-87C7-96289159C09A}" type="slidenum">
              <a:rPr lang="en-GB" sz="1000"/>
              <a:pPr algn="ctr">
                <a:defRPr/>
              </a:pPr>
              <a:t>‹#›</a:t>
            </a:fld>
            <a:endParaRPr lang="en-GB" sz="1000" dirty="0"/>
          </a:p>
        </p:txBody>
      </p:sp>
      <p:pic>
        <p:nvPicPr>
          <p:cNvPr id="1029" name="Kép 6" descr="Union Biztosito_4c_rgb.jp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188913"/>
            <a:ext cx="2089150" cy="912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Szövegdoboz 9"/>
          <p:cNvSpPr txBox="1"/>
          <p:nvPr/>
        </p:nvSpPr>
        <p:spPr>
          <a:xfrm>
            <a:off x="107950" y="6556375"/>
            <a:ext cx="2376488" cy="2460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hu-HU" sz="1000" dirty="0" err="1"/>
              <a:t>www.unionbiztosito.hu</a:t>
            </a:r>
            <a:endParaRPr lang="hu-HU" sz="1000" dirty="0"/>
          </a:p>
        </p:txBody>
      </p:sp>
      <p:sp>
        <p:nvSpPr>
          <p:cNvPr id="9" name="Rectangle 32"/>
          <p:cNvSpPr>
            <a:spLocks noChangeArrowheads="1"/>
          </p:cNvSpPr>
          <p:nvPr/>
        </p:nvSpPr>
        <p:spPr bwMode="auto">
          <a:xfrm>
            <a:off x="6011863" y="6362700"/>
            <a:ext cx="29400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/>
          <a:p>
            <a:pPr algn="ctr">
              <a:defRPr/>
            </a:pPr>
            <a:endParaRPr lang="en-GB" sz="1000" dirty="0"/>
          </a:p>
        </p:txBody>
      </p:sp>
      <p:sp>
        <p:nvSpPr>
          <p:cNvPr id="11" name="Szövegdoboz 10"/>
          <p:cNvSpPr txBox="1"/>
          <p:nvPr/>
        </p:nvSpPr>
        <p:spPr>
          <a:xfrm>
            <a:off x="7451725" y="6524625"/>
            <a:ext cx="1692275" cy="2476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>
              <a:defRPr/>
            </a:pPr>
            <a:fld id="{FE23BA7F-04AD-412D-B151-831A36F667B0}" type="datetime1">
              <a:rPr lang="hu-HU" sz="1000"/>
              <a:pPr algn="r">
                <a:defRPr/>
              </a:pPr>
              <a:t>2017. 05. 18.</a:t>
            </a:fld>
            <a:endParaRPr lang="hu-HU" sz="1000" dirty="0"/>
          </a:p>
        </p:txBody>
      </p:sp>
      <p:cxnSp>
        <p:nvCxnSpPr>
          <p:cNvPr id="1033" name="Egyenes összekötő 8"/>
          <p:cNvCxnSpPr>
            <a:cxnSpLocks noChangeShapeType="1"/>
          </p:cNvCxnSpPr>
          <p:nvPr/>
        </p:nvCxnSpPr>
        <p:spPr bwMode="auto">
          <a:xfrm>
            <a:off x="250825" y="895350"/>
            <a:ext cx="6445250" cy="0"/>
          </a:xfrm>
          <a:prstGeom prst="line">
            <a:avLst/>
          </a:prstGeom>
          <a:noFill/>
          <a:ln w="31750" algn="ctr">
            <a:solidFill>
              <a:srgbClr val="DD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</p:sldLayoutIdLst>
  <p:hf hdr="0" ftr="0"/>
  <p:txStyles>
    <p:titleStyle>
      <a:lvl1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</a:defRPr>
      </a:lvl5pPr>
      <a:lvl6pPr marL="4572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FF0000"/>
        </a:buClr>
        <a:buSzPct val="60000"/>
        <a:buFont typeface="Wingdings" pitchFamily="2" charset="2"/>
        <a:buChar char="l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FF0000"/>
        </a:buClr>
        <a:buSzPct val="55000"/>
        <a:buFont typeface="Wingdings" pitchFamily="2" charset="2"/>
        <a:buChar char="n"/>
        <a:defRPr sz="2800">
          <a:solidFill>
            <a:srgbClr val="000000"/>
          </a:solidFill>
          <a:latin typeface="+mn-lt"/>
        </a:defRPr>
      </a:lvl2pPr>
      <a:lvl3pPr marL="1143000" indent="-2286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FF0000"/>
        </a:buClr>
        <a:buSzPct val="50000"/>
        <a:buFont typeface="Wingdings" pitchFamily="2" charset="2"/>
        <a:buChar char="Ø"/>
        <a:defRPr sz="2600">
          <a:solidFill>
            <a:srgbClr val="000000"/>
          </a:solidFill>
          <a:latin typeface="+mn-lt"/>
        </a:defRPr>
      </a:lvl3pPr>
      <a:lvl4pPr marL="1562100" indent="-2286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FF0000"/>
        </a:buClr>
        <a:buSzPct val="45000"/>
        <a:buFont typeface="Wingdings" pitchFamily="2" charset="2"/>
        <a:buChar char="u"/>
        <a:defRPr sz="2400">
          <a:solidFill>
            <a:srgbClr val="000000"/>
          </a:solidFill>
          <a:latin typeface="+mn-lt"/>
        </a:defRPr>
      </a:lvl4pPr>
      <a:lvl5pPr marL="1981200" indent="-2286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FF0000"/>
        </a:buClr>
        <a:buSzPct val="90000"/>
        <a:buChar char="»"/>
        <a:defRPr sz="2000">
          <a:solidFill>
            <a:srgbClr val="000000"/>
          </a:solidFill>
          <a:latin typeface="+mn-lt"/>
        </a:defRPr>
      </a:lvl5pPr>
      <a:lvl6pPr marL="2438400" indent="-2286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FF0000"/>
        </a:buClr>
        <a:buSzPct val="90000"/>
        <a:buChar char="»"/>
        <a:defRPr sz="2000">
          <a:solidFill>
            <a:srgbClr val="000000"/>
          </a:solidFill>
          <a:latin typeface="+mn-lt"/>
        </a:defRPr>
      </a:lvl6pPr>
      <a:lvl7pPr marL="2895600" indent="-2286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FF0000"/>
        </a:buClr>
        <a:buSzPct val="90000"/>
        <a:buChar char="»"/>
        <a:defRPr sz="2000">
          <a:solidFill>
            <a:srgbClr val="000000"/>
          </a:solidFill>
          <a:latin typeface="+mn-lt"/>
        </a:defRPr>
      </a:lvl7pPr>
      <a:lvl8pPr marL="3352800" indent="-2286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FF0000"/>
        </a:buClr>
        <a:buSzPct val="90000"/>
        <a:buChar char="»"/>
        <a:defRPr sz="2000">
          <a:solidFill>
            <a:srgbClr val="000000"/>
          </a:solidFill>
          <a:latin typeface="+mn-lt"/>
        </a:defRPr>
      </a:lvl8pPr>
      <a:lvl9pPr marL="3810000" indent="-228600" algn="l" rtl="0" eaLnBrk="1" fontAlgn="base" hangingPunct="1">
        <a:lnSpc>
          <a:spcPct val="115000"/>
        </a:lnSpc>
        <a:spcBef>
          <a:spcPct val="20000"/>
        </a:spcBef>
        <a:spcAft>
          <a:spcPct val="0"/>
        </a:spcAft>
        <a:buClr>
          <a:srgbClr val="FF0000"/>
        </a:buClr>
        <a:buSzPct val="90000"/>
        <a:buChar char="»"/>
        <a:defRPr sz="2000">
          <a:solidFill>
            <a:srgbClr val="000000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4" Type="http://schemas.openxmlformats.org/officeDocument/2006/relationships/diagramQuickStyle" Target="../diagrams/quickStyle2.xml"/><Relationship Id="rId5" Type="http://schemas.openxmlformats.org/officeDocument/2006/relationships/diagramColors" Target="../diagrams/colors2.xml"/><Relationship Id="rId6" Type="http://schemas.microsoft.com/office/2007/relationships/diagramDrawing" Target="../diagrams/drawing2.xml"/><Relationship Id="rId7" Type="http://schemas.openxmlformats.org/officeDocument/2006/relationships/diagramData" Target="../diagrams/data3.xml"/><Relationship Id="rId8" Type="http://schemas.openxmlformats.org/officeDocument/2006/relationships/diagramLayout" Target="../diagrams/layout3.xml"/><Relationship Id="rId9" Type="http://schemas.openxmlformats.org/officeDocument/2006/relationships/diagramQuickStyle" Target="../diagrams/quickStyle3.xml"/><Relationship Id="rId10" Type="http://schemas.openxmlformats.org/officeDocument/2006/relationships/diagramColors" Target="../diagrams/colors3.xml"/><Relationship Id="rId11" Type="http://schemas.microsoft.com/office/2007/relationships/diagramDrawing" Target="../diagrams/drawing3.xml"/><Relationship Id="rId1" Type="http://schemas.openxmlformats.org/officeDocument/2006/relationships/slideLayout" Target="../slideLayouts/slideLayout4.xml"/><Relationship Id="rId2" Type="http://schemas.openxmlformats.org/officeDocument/2006/relationships/diagramData" Target="../diagrams/data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4" Type="http://schemas.openxmlformats.org/officeDocument/2006/relationships/diagramLayout" Target="../diagrams/layout4.xml"/><Relationship Id="rId5" Type="http://schemas.openxmlformats.org/officeDocument/2006/relationships/diagramQuickStyle" Target="../diagrams/quickStyle4.xml"/><Relationship Id="rId6" Type="http://schemas.openxmlformats.org/officeDocument/2006/relationships/diagramColors" Target="../diagrams/colors4.xml"/><Relationship Id="rId7" Type="http://schemas.microsoft.com/office/2007/relationships/diagramDrawing" Target="../diagrams/drawing4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4" Type="http://schemas.openxmlformats.org/officeDocument/2006/relationships/diagramQuickStyle" Target="../diagrams/quickStyle5.xml"/><Relationship Id="rId5" Type="http://schemas.openxmlformats.org/officeDocument/2006/relationships/diagramColors" Target="../diagrams/colors5.xml"/><Relationship Id="rId6" Type="http://schemas.microsoft.com/office/2007/relationships/diagramDrawing" Target="../diagrams/drawing5.xml"/><Relationship Id="rId1" Type="http://schemas.openxmlformats.org/officeDocument/2006/relationships/slideLayout" Target="../slideLayouts/slideLayout2.xml"/><Relationship Id="rId2" Type="http://schemas.openxmlformats.org/officeDocument/2006/relationships/diagramData" Target="../diagrams/data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4" Type="http://schemas.openxmlformats.org/officeDocument/2006/relationships/diagramLayout" Target="../diagrams/layout6.xml"/><Relationship Id="rId5" Type="http://schemas.openxmlformats.org/officeDocument/2006/relationships/diagramQuickStyle" Target="../diagrams/quickStyle6.xml"/><Relationship Id="rId6" Type="http://schemas.openxmlformats.org/officeDocument/2006/relationships/diagramColors" Target="../diagrams/colors6.xml"/><Relationship Id="rId7" Type="http://schemas.microsoft.com/office/2007/relationships/diagramDrawing" Target="../diagrams/drawing6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1" Type="http://schemas.microsoft.com/office/2007/relationships/hdphoto" Target="../media/hdphoto1.wdp"/><Relationship Id="rId12" Type="http://schemas.openxmlformats.org/officeDocument/2006/relationships/image" Target="../media/image7.png"/><Relationship Id="rId13" Type="http://schemas.openxmlformats.org/officeDocument/2006/relationships/image" Target="../media/image8.jpeg"/><Relationship Id="rId14" Type="http://schemas.openxmlformats.org/officeDocument/2006/relationships/image" Target="../media/image9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2.emf"/><Relationship Id="rId7" Type="http://schemas.openxmlformats.org/officeDocument/2006/relationships/image" Target="../media/image3.png"/><Relationship Id="rId8" Type="http://schemas.openxmlformats.org/officeDocument/2006/relationships/image" Target="../media/image4.png"/><Relationship Id="rId9" Type="http://schemas.openxmlformats.org/officeDocument/2006/relationships/image" Target="../media/image5.png"/><Relationship Id="rId10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4" Type="http://schemas.openxmlformats.org/officeDocument/2006/relationships/diagramLayout" Target="../diagrams/layout7.xml"/><Relationship Id="rId5" Type="http://schemas.openxmlformats.org/officeDocument/2006/relationships/diagramQuickStyle" Target="../diagrams/quickStyle7.xml"/><Relationship Id="rId6" Type="http://schemas.openxmlformats.org/officeDocument/2006/relationships/diagramColors" Target="../diagrams/colors7.xml"/><Relationship Id="rId7" Type="http://schemas.microsoft.com/office/2007/relationships/diagramDrawing" Target="../diagrams/drawing7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4" Type="http://schemas.openxmlformats.org/officeDocument/2006/relationships/image" Target="../media/image15.jpeg"/><Relationship Id="rId5" Type="http://schemas.openxmlformats.org/officeDocument/2006/relationships/image" Target="../media/image16.jpeg"/><Relationship Id="rId6" Type="http://schemas.openxmlformats.org/officeDocument/2006/relationships/image" Target="../media/image17.jpeg"/><Relationship Id="rId7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jpe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2.xml"/><Relationship Id="rId5" Type="http://schemas.openxmlformats.org/officeDocument/2006/relationships/image" Target="../media/image11.png"/><Relationship Id="rId6" Type="http://schemas.openxmlformats.org/officeDocument/2006/relationships/oleObject" Target="../embeddings/oleObject3.bin"/><Relationship Id="rId7" Type="http://schemas.openxmlformats.org/officeDocument/2006/relationships/image" Target="../media/image10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partnerportal.unionbiztosito.hu/Kiwa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cím 1"/>
          <p:cNvSpPr>
            <a:spLocks noGrp="1"/>
          </p:cNvSpPr>
          <p:nvPr>
            <p:ph type="subTitle" idx="1"/>
          </p:nvPr>
        </p:nvSpPr>
        <p:spPr>
          <a:xfrm>
            <a:off x="692150" y="3284984"/>
            <a:ext cx="7768282" cy="2304256"/>
          </a:xfrm>
        </p:spPr>
        <p:txBody>
          <a:bodyPr/>
          <a:lstStyle/>
          <a:p>
            <a:pPr algn="ctr"/>
            <a:r>
              <a:rPr lang="hu-HU" sz="2400" cap="small" dirty="0">
                <a:solidFill>
                  <a:srgbClr val="000099"/>
                </a:solidFill>
              </a:rPr>
              <a:t>Gál </a:t>
            </a:r>
            <a:r>
              <a:rPr lang="hu-HU" sz="2400" cap="small" dirty="0" smtClean="0">
                <a:solidFill>
                  <a:srgbClr val="000099"/>
                </a:solidFill>
              </a:rPr>
              <a:t>Andrea alkusz igazgató</a:t>
            </a:r>
          </a:p>
          <a:p>
            <a:pPr algn="ctr"/>
            <a:r>
              <a:rPr lang="hu-HU" sz="2400" cap="small" dirty="0" smtClean="0">
                <a:solidFill>
                  <a:srgbClr val="000099"/>
                </a:solidFill>
              </a:rPr>
              <a:t>Klinger József kkv vezető kockázatvállaló</a:t>
            </a:r>
            <a:endParaRPr lang="hu-HU" sz="2000" cap="small" dirty="0" smtClean="0">
              <a:solidFill>
                <a:srgbClr val="000099"/>
              </a:solidFill>
            </a:endParaRPr>
          </a:p>
          <a:p>
            <a:pPr algn="ctr"/>
            <a:endParaRPr lang="hu-HU" sz="2000" cap="small" dirty="0" smtClean="0">
              <a:solidFill>
                <a:srgbClr val="000099"/>
              </a:solidFill>
            </a:endParaRPr>
          </a:p>
          <a:p>
            <a:pPr algn="ctr"/>
            <a:r>
              <a:rPr lang="hu-HU" sz="2000" cap="small" dirty="0" smtClean="0">
                <a:solidFill>
                  <a:srgbClr val="000099"/>
                </a:solidFill>
              </a:rPr>
              <a:t>2017. MÁJUS 16.</a:t>
            </a:r>
            <a:endParaRPr lang="hu-HU" sz="2000" dirty="0">
              <a:solidFill>
                <a:srgbClr val="000099"/>
              </a:solidFill>
            </a:endParaRPr>
          </a:p>
        </p:txBody>
      </p:sp>
      <p:sp>
        <p:nvSpPr>
          <p:cNvPr id="3" name="Cím 2"/>
          <p:cNvSpPr>
            <a:spLocks noGrp="1"/>
          </p:cNvSpPr>
          <p:nvPr>
            <p:ph type="ctrTitle"/>
          </p:nvPr>
        </p:nvSpPr>
        <p:spPr>
          <a:xfrm>
            <a:off x="685800" y="1598935"/>
            <a:ext cx="7772400" cy="1470025"/>
          </a:xfrm>
        </p:spPr>
        <p:txBody>
          <a:bodyPr/>
          <a:lstStyle/>
          <a:p>
            <a:pPr algn="ctr"/>
            <a:r>
              <a:rPr lang="hu-HU" cap="small" dirty="0">
                <a:solidFill>
                  <a:srgbClr val="000099"/>
                </a:solidFill>
              </a:rPr>
              <a:t>Vállalkozói vagyon- és </a:t>
            </a:r>
            <a:r>
              <a:rPr lang="hu-HU" cap="small" dirty="0" smtClean="0">
                <a:solidFill>
                  <a:srgbClr val="000099"/>
                </a:solidFill>
              </a:rPr>
              <a:t>felelősségbiztosítások az </a:t>
            </a:r>
            <a:br>
              <a:rPr lang="hu-HU" cap="small" dirty="0" smtClean="0">
                <a:solidFill>
                  <a:srgbClr val="000099"/>
                </a:solidFill>
              </a:rPr>
            </a:br>
            <a:r>
              <a:rPr lang="hu-HU" cap="small" dirty="0" smtClean="0">
                <a:solidFill>
                  <a:srgbClr val="000099"/>
                </a:solidFill>
              </a:rPr>
              <a:t>UNION Biztosítóban</a:t>
            </a:r>
            <a:endParaRPr lang="hu-HU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483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kern="12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GÓSÁGBIZTOSÍTÁS – kockázati </a:t>
            </a:r>
            <a:r>
              <a:rPr lang="hu-HU" sz="2400" kern="12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					csomagok</a:t>
            </a:r>
            <a:endParaRPr lang="hu-HU" sz="2400" kern="12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35496" y="1052736"/>
            <a:ext cx="3693492" cy="5328592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lnSpc>
                <a:spcPct val="105000"/>
              </a:lnSpc>
              <a:buNone/>
            </a:pPr>
            <a:r>
              <a:rPr lang="hu-HU" sz="1600" b="1" dirty="0" smtClean="0">
                <a:solidFill>
                  <a:srgbClr val="000099"/>
                </a:solidFill>
              </a:rPr>
              <a:t>ALAP</a:t>
            </a:r>
            <a:r>
              <a:rPr lang="hu-HU" sz="1600" dirty="0" smtClean="0">
                <a:solidFill>
                  <a:srgbClr val="000099"/>
                </a:solidFill>
              </a:rPr>
              <a:t> kockázati csomag:</a:t>
            </a:r>
          </a:p>
          <a:p>
            <a:pPr>
              <a:lnSpc>
                <a:spcPct val="105000"/>
              </a:lnSpc>
            </a:pPr>
            <a:r>
              <a:rPr lang="hu-HU" sz="1600" dirty="0" smtClean="0">
                <a:solidFill>
                  <a:srgbClr val="000099"/>
                </a:solidFill>
              </a:rPr>
              <a:t>Tűz</a:t>
            </a:r>
          </a:p>
          <a:p>
            <a:pPr>
              <a:lnSpc>
                <a:spcPct val="105000"/>
              </a:lnSpc>
            </a:pPr>
            <a:r>
              <a:rPr lang="hu-HU" sz="1600" dirty="0" smtClean="0">
                <a:solidFill>
                  <a:srgbClr val="000099"/>
                </a:solidFill>
              </a:rPr>
              <a:t>Villámcsapás</a:t>
            </a:r>
          </a:p>
          <a:p>
            <a:pPr>
              <a:lnSpc>
                <a:spcPct val="105000"/>
              </a:lnSpc>
            </a:pPr>
            <a:r>
              <a:rPr lang="hu-HU" sz="1600" dirty="0" smtClean="0">
                <a:solidFill>
                  <a:srgbClr val="000099"/>
                </a:solidFill>
              </a:rPr>
              <a:t>Robbanás</a:t>
            </a:r>
          </a:p>
          <a:p>
            <a:pPr>
              <a:lnSpc>
                <a:spcPct val="105000"/>
              </a:lnSpc>
            </a:pPr>
            <a:r>
              <a:rPr lang="hu-HU" sz="1600" dirty="0" smtClean="0">
                <a:solidFill>
                  <a:srgbClr val="000099"/>
                </a:solidFill>
              </a:rPr>
              <a:t>Légi jármű lezuhanása</a:t>
            </a:r>
          </a:p>
          <a:p>
            <a:pPr>
              <a:lnSpc>
                <a:spcPct val="105000"/>
              </a:lnSpc>
            </a:pPr>
            <a:r>
              <a:rPr lang="hu-HU" sz="1600" dirty="0" smtClean="0">
                <a:solidFill>
                  <a:srgbClr val="000099"/>
                </a:solidFill>
              </a:rPr>
              <a:t>Vihar</a:t>
            </a:r>
          </a:p>
          <a:p>
            <a:pPr>
              <a:lnSpc>
                <a:spcPct val="105000"/>
              </a:lnSpc>
            </a:pPr>
            <a:r>
              <a:rPr lang="hu-HU" sz="1600" dirty="0" smtClean="0">
                <a:solidFill>
                  <a:srgbClr val="000099"/>
                </a:solidFill>
              </a:rPr>
              <a:t>Felhőszakadás + Jégverés</a:t>
            </a:r>
          </a:p>
          <a:p>
            <a:pPr>
              <a:lnSpc>
                <a:spcPct val="105000"/>
              </a:lnSpc>
            </a:pPr>
            <a:r>
              <a:rPr lang="hu-HU" sz="1600" dirty="0" err="1" smtClean="0">
                <a:solidFill>
                  <a:srgbClr val="000099"/>
                </a:solidFill>
              </a:rPr>
              <a:t>Hónyomás</a:t>
            </a:r>
            <a:endParaRPr lang="hu-HU" sz="1600" dirty="0" smtClean="0">
              <a:solidFill>
                <a:srgbClr val="000099"/>
              </a:solidFill>
            </a:endParaRPr>
          </a:p>
          <a:p>
            <a:pPr>
              <a:lnSpc>
                <a:spcPct val="105000"/>
              </a:lnSpc>
            </a:pPr>
            <a:r>
              <a:rPr lang="hu-HU" sz="1600" dirty="0">
                <a:solidFill>
                  <a:srgbClr val="000099"/>
                </a:solidFill>
              </a:rPr>
              <a:t>Földrengés</a:t>
            </a:r>
          </a:p>
          <a:p>
            <a:pPr>
              <a:lnSpc>
                <a:spcPct val="105000"/>
              </a:lnSpc>
            </a:pPr>
            <a:r>
              <a:rPr lang="hu-HU" sz="1600" dirty="0">
                <a:solidFill>
                  <a:srgbClr val="000099"/>
                </a:solidFill>
              </a:rPr>
              <a:t>Vezetékes vízkár</a:t>
            </a:r>
          </a:p>
          <a:p>
            <a:pPr>
              <a:lnSpc>
                <a:spcPct val="105000"/>
              </a:lnSpc>
            </a:pPr>
            <a:r>
              <a:rPr lang="hu-HU" sz="1600" dirty="0">
                <a:solidFill>
                  <a:srgbClr val="000099"/>
                </a:solidFill>
              </a:rPr>
              <a:t>Technológiai csőtörés</a:t>
            </a:r>
          </a:p>
          <a:p>
            <a:pPr>
              <a:lnSpc>
                <a:spcPct val="105000"/>
              </a:lnSpc>
            </a:pPr>
            <a:r>
              <a:rPr lang="hu-HU" sz="1600" dirty="0">
                <a:solidFill>
                  <a:srgbClr val="000099"/>
                </a:solidFill>
              </a:rPr>
              <a:t>Ismeretlen jármű </a:t>
            </a:r>
            <a:r>
              <a:rPr lang="hu-HU" sz="1600" dirty="0" smtClean="0">
                <a:solidFill>
                  <a:srgbClr val="000099"/>
                </a:solidFill>
              </a:rPr>
              <a:t>ütközése</a:t>
            </a:r>
          </a:p>
          <a:p>
            <a:pPr>
              <a:lnSpc>
                <a:spcPct val="105000"/>
              </a:lnSpc>
            </a:pPr>
            <a:r>
              <a:rPr lang="hu-HU" sz="1600" dirty="0" smtClean="0">
                <a:solidFill>
                  <a:srgbClr val="000099"/>
                </a:solidFill>
              </a:rPr>
              <a:t>Egyéb kiegészítő </a:t>
            </a:r>
            <a:r>
              <a:rPr lang="hu-HU" sz="1600" dirty="0">
                <a:solidFill>
                  <a:srgbClr val="000099"/>
                </a:solidFill>
              </a:rPr>
              <a:t>fedezetek</a:t>
            </a:r>
            <a:r>
              <a:rPr lang="hu-HU" sz="1600" dirty="0" smtClean="0">
                <a:solidFill>
                  <a:srgbClr val="000099"/>
                </a:solidFill>
              </a:rPr>
              <a:t>: kerítésben, napvédő/esővédő tetőkben, füstölőkamrák és értékesítő automaták tartalmában, munkavállalók vagyontárgyaiban keletkezett károk</a:t>
            </a:r>
            <a:endParaRPr lang="hu-HU" sz="1600" dirty="0">
              <a:solidFill>
                <a:srgbClr val="000099"/>
              </a:solidFill>
            </a:endParaRPr>
          </a:p>
          <a:p>
            <a:pPr marL="0" indent="0">
              <a:lnSpc>
                <a:spcPct val="105000"/>
              </a:lnSpc>
              <a:buNone/>
            </a:pPr>
            <a:endParaRPr lang="hu-HU" sz="1200" i="1" dirty="0">
              <a:solidFill>
                <a:srgbClr val="000099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139952" y="951111"/>
            <a:ext cx="4896544" cy="276592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lnSpc>
                <a:spcPct val="9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 smtClean="0">
                <a:solidFill>
                  <a:srgbClr val="000099"/>
                </a:solidFill>
                <a:latin typeface="+mn-lt"/>
              </a:rPr>
              <a:t>TELJES</a:t>
            </a: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 kockázati csomag:</a:t>
            </a: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Árvíz (31. naptól)</a:t>
            </a:r>
            <a:endParaRPr lang="hu-HU" sz="1600" kern="0" dirty="0">
              <a:solidFill>
                <a:srgbClr val="000099"/>
              </a:solidFill>
              <a:latin typeface="+mn-lt"/>
            </a:endParaRP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Földmozgás (31. naptól)</a:t>
            </a:r>
            <a:endParaRPr lang="hu-HU" sz="1600" kern="0" dirty="0">
              <a:solidFill>
                <a:srgbClr val="000099"/>
              </a:solidFill>
              <a:latin typeface="+mn-lt"/>
            </a:endParaRP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>
                <a:solidFill>
                  <a:srgbClr val="000099"/>
                </a:solidFill>
                <a:latin typeface="+mn-lt"/>
              </a:rPr>
              <a:t>Villámcsapás közvetett </a:t>
            </a: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hatása (1 km)</a:t>
            </a: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Vezetékes vízkár bővítés</a:t>
            </a:r>
            <a:endParaRPr lang="hu-HU" sz="1600" kern="0" dirty="0">
              <a:solidFill>
                <a:srgbClr val="000099"/>
              </a:solidFill>
              <a:latin typeface="+mn-lt"/>
            </a:endParaRP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>
                <a:solidFill>
                  <a:srgbClr val="000099"/>
                </a:solidFill>
                <a:latin typeface="+mn-lt"/>
              </a:rPr>
              <a:t>Füst és hő okozta károk</a:t>
            </a: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>
                <a:solidFill>
                  <a:srgbClr val="000099"/>
                </a:solidFill>
                <a:latin typeface="+mn-lt"/>
              </a:rPr>
              <a:t>Elektromos </a:t>
            </a: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tűz</a:t>
            </a:r>
          </a:p>
          <a:p>
            <a:pPr marL="342900" indent="-342900">
              <a:lnSpc>
                <a:spcPct val="9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Egyéb kiegészítő fedezetek: értékesítő automatákban keletkezett betöréskár, vitrinek és kirakatok kárai, </a:t>
            </a:r>
            <a:r>
              <a:rPr lang="hu-HU" sz="1600" b="1" kern="0" dirty="0" smtClean="0">
                <a:solidFill>
                  <a:schemeClr val="accent1"/>
                </a:solidFill>
                <a:latin typeface="+mn-lt"/>
              </a:rPr>
              <a:t>vandalizmus, hűtött áruk</a:t>
            </a:r>
            <a:r>
              <a:rPr lang="hu-HU" sz="1600" i="1" kern="0" dirty="0" smtClean="0">
                <a:latin typeface="+mn-lt"/>
              </a:rPr>
              <a:t>       </a:t>
            </a:r>
            <a:endParaRPr lang="hu-HU" sz="1600" i="1" kern="0" dirty="0">
              <a:latin typeface="+mn-lt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4427984" y="3789040"/>
            <a:ext cx="4644008" cy="201622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 smtClean="0">
                <a:solidFill>
                  <a:srgbClr val="000099"/>
                </a:solidFill>
                <a:latin typeface="+mn-lt"/>
              </a:rPr>
              <a:t>EXTRA</a:t>
            </a: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 kockázati csomag: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Vezetékes vízkár bővítése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Kiállítás- </a:t>
            </a:r>
            <a:r>
              <a:rPr lang="hu-HU" sz="1600" kern="0" dirty="0">
                <a:solidFill>
                  <a:srgbClr val="000099"/>
                </a:solidFill>
                <a:latin typeface="+mn-lt"/>
              </a:rPr>
              <a:t>és vásárbiztosítás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>
                <a:solidFill>
                  <a:srgbClr val="000099"/>
                </a:solidFill>
                <a:latin typeface="+mn-lt"/>
              </a:rPr>
              <a:t>Idegen tulajdonú telephelyen elhelyezett vagyontárgyak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>
                <a:solidFill>
                  <a:srgbClr val="000099"/>
                </a:solidFill>
                <a:latin typeface="+mn-lt"/>
              </a:rPr>
              <a:t>Árukban és készletekben Magyarország határain belüli </a:t>
            </a: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szállítása</a:t>
            </a:r>
            <a:endParaRPr lang="hu-HU" sz="1200" i="1" kern="0" dirty="0">
              <a:solidFill>
                <a:srgbClr val="000099"/>
              </a:solidFill>
              <a:latin typeface="+mn-lt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3491880" y="1916832"/>
            <a:ext cx="762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dirty="0"/>
              <a:t>+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779912" y="4235982"/>
            <a:ext cx="97210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dirty="0"/>
              <a:t>+</a:t>
            </a:r>
          </a:p>
        </p:txBody>
      </p:sp>
      <p:sp>
        <p:nvSpPr>
          <p:cNvPr id="10" name="Tartalom helye 1"/>
          <p:cNvSpPr>
            <a:spLocks noGrp="1"/>
          </p:cNvSpPr>
          <p:nvPr>
            <p:ph sz="half" idx="2"/>
          </p:nvPr>
        </p:nvSpPr>
        <p:spPr>
          <a:xfrm>
            <a:off x="3779912" y="5877272"/>
            <a:ext cx="4536504" cy="908720"/>
          </a:xfrm>
          <a:solidFill>
            <a:schemeClr val="accent5">
              <a:lumMod val="75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hu-HU" sz="1600" b="1" dirty="0">
                <a:solidFill>
                  <a:srgbClr val="000099"/>
                </a:solidFill>
              </a:rPr>
              <a:t>ALL RISKS</a:t>
            </a:r>
            <a:r>
              <a:rPr lang="hu-HU" sz="1600" dirty="0">
                <a:solidFill>
                  <a:srgbClr val="000099"/>
                </a:solidFill>
              </a:rPr>
              <a:t> </a:t>
            </a:r>
            <a:r>
              <a:rPr lang="hu-HU" sz="1600" dirty="0" smtClean="0">
                <a:solidFill>
                  <a:srgbClr val="000099"/>
                </a:solidFill>
              </a:rPr>
              <a:t>kockázati csomag</a:t>
            </a:r>
          </a:p>
          <a:p>
            <a:pPr marL="0" indent="0">
              <a:buNone/>
            </a:pPr>
            <a:r>
              <a:rPr lang="hu-HU" sz="1600" dirty="0">
                <a:solidFill>
                  <a:srgbClr val="000099"/>
                </a:solidFill>
              </a:rPr>
              <a:t>EXTRA csomag + minden egyéb kockázat, ami nincs kizárva. </a:t>
            </a:r>
            <a:r>
              <a:rPr lang="hu-HU" sz="1600" dirty="0" smtClean="0">
                <a:solidFill>
                  <a:srgbClr val="000099"/>
                </a:solidFill>
              </a:rPr>
              <a:t>Elolvasandó </a:t>
            </a:r>
            <a:r>
              <a:rPr lang="hu-HU" sz="1600" dirty="0">
                <a:solidFill>
                  <a:srgbClr val="000099"/>
                </a:solidFill>
              </a:rPr>
              <a:t>a kizárások köre!</a:t>
            </a:r>
            <a:r>
              <a:rPr lang="hu-HU" sz="1600" dirty="0" smtClean="0">
                <a:solidFill>
                  <a:schemeClr val="tx1"/>
                </a:solidFill>
              </a:rPr>
              <a:t>     </a:t>
            </a:r>
            <a:endParaRPr lang="hu-HU" sz="1600" dirty="0">
              <a:solidFill>
                <a:schemeClr val="tx1"/>
              </a:solidFill>
            </a:endParaRP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8274496" y="5949280"/>
            <a:ext cx="762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dirty="0" smtClean="0"/>
              <a:t>+  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40740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 autoUpdateAnimBg="0"/>
      <p:bldP spid="6" grpId="0" animBg="1"/>
      <p:bldP spid="7" grpId="0"/>
      <p:bldP spid="8" grpId="0"/>
      <p:bldP spid="10" grpId="0" build="allAtOnce" animBg="1"/>
      <p:bldP spid="1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A CSOMAGOK KOMBINÁLHATÓSÁGA</a:t>
            </a:r>
          </a:p>
        </p:txBody>
      </p:sp>
      <p:sp>
        <p:nvSpPr>
          <p:cNvPr id="20483" name="Text Box 3"/>
          <p:cNvSpPr txBox="1">
            <a:spLocks noChangeArrowheads="1"/>
          </p:cNvSpPr>
          <p:nvPr/>
        </p:nvSpPr>
        <p:spPr bwMode="auto">
          <a:xfrm>
            <a:off x="1115616" y="1916832"/>
            <a:ext cx="2362200" cy="972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0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hu-HU" sz="2000" dirty="0">
                <a:solidFill>
                  <a:srgbClr val="000099"/>
                </a:solidFill>
              </a:rPr>
              <a:t>Épületbiztosítás</a:t>
            </a:r>
          </a:p>
        </p:txBody>
      </p:sp>
      <p:sp>
        <p:nvSpPr>
          <p:cNvPr id="20484" name="Text Box 4"/>
          <p:cNvSpPr txBox="1">
            <a:spLocks noChangeArrowheads="1"/>
          </p:cNvSpPr>
          <p:nvPr/>
        </p:nvSpPr>
        <p:spPr bwMode="auto">
          <a:xfrm>
            <a:off x="4174704" y="1916832"/>
            <a:ext cx="4536504" cy="97200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0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hu-HU" sz="2000" dirty="0">
                <a:solidFill>
                  <a:srgbClr val="000099"/>
                </a:solidFill>
              </a:rPr>
              <a:t>Ingóságbiztosítás (betöréses </a:t>
            </a:r>
            <a:r>
              <a:rPr lang="hu-HU" sz="2000" dirty="0" smtClean="0">
                <a:solidFill>
                  <a:srgbClr val="000099"/>
                </a:solidFill>
              </a:rPr>
              <a:t>lopással </a:t>
            </a:r>
            <a:r>
              <a:rPr lang="hu-HU" sz="2000" dirty="0">
                <a:solidFill>
                  <a:srgbClr val="000099"/>
                </a:solidFill>
              </a:rPr>
              <a:t>vagy betöréses lopás nélkül)</a:t>
            </a:r>
          </a:p>
        </p:txBody>
      </p:sp>
      <p:sp>
        <p:nvSpPr>
          <p:cNvPr id="20485" name="Text Box 5"/>
          <p:cNvSpPr txBox="1">
            <a:spLocks noChangeArrowheads="1"/>
          </p:cNvSpPr>
          <p:nvPr/>
        </p:nvSpPr>
        <p:spPr bwMode="auto">
          <a:xfrm>
            <a:off x="755576" y="4149080"/>
            <a:ext cx="1258888" cy="7191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0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hu-HU" sz="2000" dirty="0">
                <a:solidFill>
                  <a:srgbClr val="000099"/>
                </a:solidFill>
              </a:rPr>
              <a:t>Alap</a:t>
            </a:r>
          </a:p>
        </p:txBody>
      </p:sp>
      <p:sp>
        <p:nvSpPr>
          <p:cNvPr id="20486" name="Text Box 6"/>
          <p:cNvSpPr txBox="1">
            <a:spLocks noChangeArrowheads="1"/>
          </p:cNvSpPr>
          <p:nvPr/>
        </p:nvSpPr>
        <p:spPr bwMode="auto">
          <a:xfrm>
            <a:off x="2915816" y="4149080"/>
            <a:ext cx="1258888" cy="71913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0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hu-HU" sz="2000" dirty="0">
                <a:solidFill>
                  <a:srgbClr val="000099"/>
                </a:solidFill>
              </a:rPr>
              <a:t>Teljes</a:t>
            </a:r>
          </a:p>
        </p:txBody>
      </p:sp>
      <p:sp>
        <p:nvSpPr>
          <p:cNvPr id="20487" name="Text Box 7"/>
          <p:cNvSpPr txBox="1">
            <a:spLocks noChangeArrowheads="1"/>
          </p:cNvSpPr>
          <p:nvPr/>
        </p:nvSpPr>
        <p:spPr bwMode="auto">
          <a:xfrm>
            <a:off x="5076056" y="4149080"/>
            <a:ext cx="1258888" cy="71913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0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hu-HU" sz="2000" dirty="0">
                <a:solidFill>
                  <a:srgbClr val="000099"/>
                </a:solidFill>
              </a:rPr>
              <a:t>Extra</a:t>
            </a:r>
          </a:p>
        </p:txBody>
      </p:sp>
      <p:sp>
        <p:nvSpPr>
          <p:cNvPr id="20488" name="Line 8"/>
          <p:cNvSpPr>
            <a:spLocks noChangeShapeType="1"/>
          </p:cNvSpPr>
          <p:nvPr/>
        </p:nvSpPr>
        <p:spPr bwMode="auto">
          <a:xfrm flipH="1">
            <a:off x="1619671" y="2888832"/>
            <a:ext cx="4823283" cy="1260248"/>
          </a:xfrm>
          <a:prstGeom prst="line">
            <a:avLst/>
          </a:prstGeom>
          <a:noFill/>
          <a:ln w="31750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hu-HU"/>
          </a:p>
        </p:txBody>
      </p:sp>
      <p:sp>
        <p:nvSpPr>
          <p:cNvPr id="20489" name="Line 9"/>
          <p:cNvSpPr>
            <a:spLocks noChangeShapeType="1"/>
          </p:cNvSpPr>
          <p:nvPr/>
        </p:nvSpPr>
        <p:spPr bwMode="auto">
          <a:xfrm>
            <a:off x="2195736" y="2888832"/>
            <a:ext cx="1282080" cy="1260248"/>
          </a:xfrm>
          <a:prstGeom prst="line">
            <a:avLst/>
          </a:prstGeom>
          <a:noFill/>
          <a:ln w="28575">
            <a:solidFill>
              <a:schemeClr val="hlink"/>
            </a:solidFill>
            <a:prstDash val="lg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hu-HU"/>
          </a:p>
        </p:txBody>
      </p:sp>
      <p:sp>
        <p:nvSpPr>
          <p:cNvPr id="20490" name="Line 10"/>
          <p:cNvSpPr>
            <a:spLocks noChangeShapeType="1"/>
          </p:cNvSpPr>
          <p:nvPr/>
        </p:nvSpPr>
        <p:spPr bwMode="auto">
          <a:xfrm>
            <a:off x="2195736" y="2888832"/>
            <a:ext cx="3320008" cy="1260248"/>
          </a:xfrm>
          <a:prstGeom prst="line">
            <a:avLst/>
          </a:prstGeom>
          <a:noFill/>
          <a:ln w="31750">
            <a:solidFill>
              <a:schemeClr val="accent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hu-HU"/>
          </a:p>
        </p:txBody>
      </p:sp>
      <p:sp>
        <p:nvSpPr>
          <p:cNvPr id="20491" name="Line 11"/>
          <p:cNvSpPr>
            <a:spLocks noChangeShapeType="1"/>
          </p:cNvSpPr>
          <p:nvPr/>
        </p:nvSpPr>
        <p:spPr bwMode="auto">
          <a:xfrm flipH="1">
            <a:off x="1385020" y="2888832"/>
            <a:ext cx="810716" cy="1260248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hu-HU"/>
          </a:p>
        </p:txBody>
      </p:sp>
      <p:sp>
        <p:nvSpPr>
          <p:cNvPr id="20492" name="Line 12"/>
          <p:cNvSpPr>
            <a:spLocks noChangeShapeType="1"/>
          </p:cNvSpPr>
          <p:nvPr/>
        </p:nvSpPr>
        <p:spPr bwMode="auto">
          <a:xfrm flipH="1">
            <a:off x="3545260" y="2888832"/>
            <a:ext cx="2897696" cy="1260248"/>
          </a:xfrm>
          <a:prstGeom prst="line">
            <a:avLst/>
          </a:prstGeom>
          <a:noFill/>
          <a:ln w="28575">
            <a:solidFill>
              <a:schemeClr val="hlink"/>
            </a:solidFill>
            <a:prstDash val="lg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hu-HU"/>
          </a:p>
        </p:txBody>
      </p:sp>
      <p:sp>
        <p:nvSpPr>
          <p:cNvPr id="20493" name="Line 13"/>
          <p:cNvSpPr>
            <a:spLocks noChangeShapeType="1"/>
          </p:cNvSpPr>
          <p:nvPr/>
        </p:nvSpPr>
        <p:spPr bwMode="auto">
          <a:xfrm flipH="1">
            <a:off x="5705499" y="2888832"/>
            <a:ext cx="737455" cy="1260248"/>
          </a:xfrm>
          <a:prstGeom prst="line">
            <a:avLst/>
          </a:prstGeom>
          <a:ln>
            <a:headEnd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hu-HU"/>
          </a:p>
        </p:txBody>
      </p:sp>
      <p:sp>
        <p:nvSpPr>
          <p:cNvPr id="20494" name="Text Box 14"/>
          <p:cNvSpPr txBox="1">
            <a:spLocks noChangeArrowheads="1"/>
          </p:cNvSpPr>
          <p:nvPr/>
        </p:nvSpPr>
        <p:spPr bwMode="auto">
          <a:xfrm>
            <a:off x="179512" y="5085184"/>
            <a:ext cx="8856984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sz="2000" dirty="0">
                <a:solidFill>
                  <a:srgbClr val="000099"/>
                </a:solidFill>
              </a:rPr>
              <a:t>Bármilyen variáció szabadon választható!</a:t>
            </a:r>
          </a:p>
          <a:p>
            <a:pPr algn="ctr">
              <a:spcBef>
                <a:spcPct val="50000"/>
              </a:spcBef>
            </a:pPr>
            <a:r>
              <a:rPr lang="hu-HU" sz="2000" dirty="0">
                <a:solidFill>
                  <a:srgbClr val="FF0000"/>
                </a:solidFill>
              </a:rPr>
              <a:t>Egy szerződésen belül </a:t>
            </a:r>
            <a:r>
              <a:rPr lang="hu-HU" sz="2000" dirty="0" smtClean="0">
                <a:solidFill>
                  <a:srgbClr val="FF0000"/>
                </a:solidFill>
              </a:rPr>
              <a:t>az összes telephelynek azonos épületbiztosítási és azonos ingóságbiztosítási csomagja lehet. Eltérő igény esetén több szerződést érdemes kötni.</a:t>
            </a:r>
            <a:endParaRPr lang="hu-HU" dirty="0">
              <a:solidFill>
                <a:srgbClr val="C00000"/>
              </a:solidFill>
            </a:endParaRPr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7236296" y="4149080"/>
            <a:ext cx="1258888" cy="71913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anchor="ctr" anchorCtr="0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hu-HU" sz="2000" dirty="0" err="1" smtClean="0">
                <a:solidFill>
                  <a:srgbClr val="000099"/>
                </a:solidFill>
              </a:rPr>
              <a:t>All</a:t>
            </a:r>
            <a:r>
              <a:rPr lang="hu-HU" sz="2000" dirty="0" smtClean="0">
                <a:solidFill>
                  <a:srgbClr val="000099"/>
                </a:solidFill>
              </a:rPr>
              <a:t> </a:t>
            </a:r>
            <a:r>
              <a:rPr lang="hu-HU" sz="2000" dirty="0" err="1" smtClean="0">
                <a:solidFill>
                  <a:srgbClr val="000099"/>
                </a:solidFill>
              </a:rPr>
              <a:t>Risks</a:t>
            </a:r>
            <a:endParaRPr lang="hu-HU" sz="2000" dirty="0">
              <a:solidFill>
                <a:srgbClr val="000099"/>
              </a:solidFill>
            </a:endParaRPr>
          </a:p>
        </p:txBody>
      </p:sp>
      <p:cxnSp>
        <p:nvCxnSpPr>
          <p:cNvPr id="3" name="Egyenes összekötő nyíllal 2"/>
          <p:cNvCxnSpPr>
            <a:stCxn id="20492" idx="0"/>
          </p:cNvCxnSpPr>
          <p:nvPr/>
        </p:nvCxnSpPr>
        <p:spPr bwMode="auto">
          <a:xfrm flipH="1">
            <a:off x="5940152" y="2888832"/>
            <a:ext cx="502804" cy="12602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0099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9" name="Egyenes összekötő nyíllal 8"/>
          <p:cNvCxnSpPr>
            <a:stCxn id="20491" idx="0"/>
          </p:cNvCxnSpPr>
          <p:nvPr/>
        </p:nvCxnSpPr>
        <p:spPr bwMode="auto">
          <a:xfrm>
            <a:off x="2195736" y="2888832"/>
            <a:ext cx="5472608" cy="126024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000099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3449960" y="2107704"/>
            <a:ext cx="762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dirty="0"/>
              <a:t>+</a:t>
            </a:r>
          </a:p>
        </p:txBody>
      </p:sp>
      <p:cxnSp>
        <p:nvCxnSpPr>
          <p:cNvPr id="4" name="Egyenes összekötő nyíllal 3"/>
          <p:cNvCxnSpPr>
            <a:stCxn id="20484" idx="2"/>
            <a:endCxn id="16" idx="0"/>
          </p:cNvCxnSpPr>
          <p:nvPr/>
        </p:nvCxnSpPr>
        <p:spPr bwMode="auto">
          <a:xfrm>
            <a:off x="6442956" y="2888832"/>
            <a:ext cx="1422784" cy="1260248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rgbClr val="DD0000"/>
            </a:solidFill>
            <a:prstDash val="dashDot"/>
            <a:round/>
            <a:headEnd type="none" w="med" len="med"/>
            <a:tailEnd type="arrow"/>
          </a:ln>
          <a:effectLst/>
        </p:spPr>
      </p:cxnSp>
      <p:cxnSp>
        <p:nvCxnSpPr>
          <p:cNvPr id="21" name="Egyenes összekötő nyíllal 20"/>
          <p:cNvCxnSpPr>
            <a:stCxn id="20490" idx="0"/>
          </p:cNvCxnSpPr>
          <p:nvPr/>
        </p:nvCxnSpPr>
        <p:spPr bwMode="auto">
          <a:xfrm>
            <a:off x="2195736" y="2888832"/>
            <a:ext cx="1080120" cy="1260248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rgbClr val="DD0000"/>
            </a:solidFill>
            <a:prstDash val="dashDot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56508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kern="12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ATASZTRÓFAFEDEZET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179388" y="1268760"/>
            <a:ext cx="8641084" cy="5184576"/>
          </a:xfrm>
        </p:spPr>
        <p:txBody>
          <a:bodyPr/>
          <a:lstStyle/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tosítási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ménynek tekintendő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den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ár, amely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, vagy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bb</a:t>
            </a:r>
          </a:p>
          <a:p>
            <a:pPr marL="715963">
              <a:buSzPct val="100000"/>
              <a:buFont typeface="Wingdings" panose="05000000000000000000" pitchFamily="2" charset="2"/>
              <a:buChar char="§"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órán belül bekövetkezett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har,</a:t>
            </a:r>
          </a:p>
          <a:p>
            <a:pPr marL="715963">
              <a:buSzPct val="100000"/>
              <a:buFont typeface="Wingdings" panose="05000000000000000000" pitchFamily="2" charset="2"/>
              <a:buChar char="§"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órán belül bekövetkezett jégverés, illetve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rnádó,</a:t>
            </a:r>
          </a:p>
          <a:p>
            <a:pPr marL="715963">
              <a:buSzPct val="100000"/>
              <a:buFont typeface="Wingdings" panose="05000000000000000000" pitchFamily="2" charset="2"/>
              <a:buChar char="§"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4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órán belül bekövetkezett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rvíz,</a:t>
            </a:r>
          </a:p>
          <a:p>
            <a:pPr marL="715963">
              <a:spcBef>
                <a:spcPts val="600"/>
              </a:spcBef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8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órán belül bekövetkezett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ldrengés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vetkezménye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zal, hogy a biztosító kockázatviselése szempontjából a biztosítási esemény bekövetkeztének időpontja az előzőekben írt időtartamok kezdete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ÁLUNK NINCS ESEMÉNYENKÉNTI KÁRFIZETÉSI MAXIMUM VISZONTBIZTOSÍTÁSI KORLÁT!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232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BC FELELŐSSÉGBIZTOSÍTÁSOK</a:t>
            </a:r>
            <a:endParaRPr lang="hu-HU" sz="2400" dirty="0">
              <a:solidFill>
                <a:srgbClr val="000099"/>
              </a:solidFill>
            </a:endParaRPr>
          </a:p>
        </p:txBody>
      </p:sp>
      <p:graphicFrame>
        <p:nvGraphicFramePr>
          <p:cNvPr id="15" name="Tartalom helye 1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9600495"/>
              </p:ext>
            </p:extLst>
          </p:nvPr>
        </p:nvGraphicFramePr>
        <p:xfrm>
          <a:off x="251520" y="1988840"/>
          <a:ext cx="3600524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4" name="Tartalom helye 1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534150976"/>
              </p:ext>
            </p:extLst>
          </p:nvPr>
        </p:nvGraphicFramePr>
        <p:xfrm>
          <a:off x="3923929" y="1916832"/>
          <a:ext cx="4896544" cy="43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3" name="Szövegdoboz 12"/>
          <p:cNvSpPr txBox="1"/>
          <p:nvPr/>
        </p:nvSpPr>
        <p:spPr>
          <a:xfrm>
            <a:off x="251520" y="1124744"/>
            <a:ext cx="84249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dirty="0" smtClean="0">
                <a:solidFill>
                  <a:srgbClr val="000099"/>
                </a:solidFill>
              </a:rPr>
              <a:t>Felelősségi igény esetén az általános felelősségbiztosítás alap, kötelező elem, kiegészítő biztosításai is csak hozzá köthetők:</a:t>
            </a:r>
            <a:endParaRPr lang="hu-HU" sz="2000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557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5" grpId="0">
        <p:bldAsOne/>
      </p:bldGraphic>
      <p:bldGraphic spid="14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FELELŐSSÉGBIZTOSÍTÁSOK - limitek</a:t>
            </a: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4127287827"/>
              </p:ext>
            </p:extLst>
          </p:nvPr>
        </p:nvGraphicFramePr>
        <p:xfrm>
          <a:off x="179388" y="1590675"/>
          <a:ext cx="8785225" cy="9022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580" name="Text Box 4"/>
          <p:cNvSpPr txBox="1">
            <a:spLocks noChangeArrowheads="1"/>
          </p:cNvSpPr>
          <p:nvPr/>
        </p:nvSpPr>
        <p:spPr bwMode="auto">
          <a:xfrm>
            <a:off x="990600" y="4038600"/>
            <a:ext cx="2514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hu-HU"/>
              <a:t> </a:t>
            </a:r>
          </a:p>
        </p:txBody>
      </p:sp>
      <p:sp>
        <p:nvSpPr>
          <p:cNvPr id="24581" name="Text Box 5"/>
          <p:cNvSpPr txBox="1">
            <a:spLocks noChangeArrowheads="1"/>
          </p:cNvSpPr>
          <p:nvPr/>
        </p:nvSpPr>
        <p:spPr bwMode="auto">
          <a:xfrm>
            <a:off x="1773474" y="4267200"/>
            <a:ext cx="5410200" cy="4162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914400" indent="-4572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55000"/>
              <a:buFont typeface="Wingdings" pitchFamily="2" charset="2"/>
              <a:buChar char="n"/>
            </a:pPr>
            <a:r>
              <a:rPr lang="hu-HU" sz="2000" dirty="0">
                <a:solidFill>
                  <a:srgbClr val="000099"/>
                </a:solidFill>
              </a:rPr>
              <a:t>50 </a:t>
            </a:r>
            <a:r>
              <a:rPr lang="hu-HU" sz="2000" dirty="0" smtClean="0">
                <a:solidFill>
                  <a:srgbClr val="000099"/>
                </a:solidFill>
              </a:rPr>
              <a:t>M Ft/kár </a:t>
            </a:r>
            <a:r>
              <a:rPr lang="hu-HU" sz="2000" dirty="0">
                <a:solidFill>
                  <a:srgbClr val="000099"/>
                </a:solidFill>
              </a:rPr>
              <a:t>és 100 </a:t>
            </a:r>
            <a:r>
              <a:rPr lang="hu-HU" sz="2000" dirty="0" smtClean="0">
                <a:solidFill>
                  <a:srgbClr val="000099"/>
                </a:solidFill>
              </a:rPr>
              <a:t>M Ft/év</a:t>
            </a:r>
            <a:endParaRPr lang="hu-HU" dirty="0">
              <a:solidFill>
                <a:srgbClr val="000099"/>
              </a:solidFill>
            </a:endParaRPr>
          </a:p>
        </p:txBody>
      </p:sp>
      <p:sp>
        <p:nvSpPr>
          <p:cNvPr id="24582" name="Text Box 6"/>
          <p:cNvSpPr txBox="1">
            <a:spLocks noChangeArrowheads="1"/>
          </p:cNvSpPr>
          <p:nvPr/>
        </p:nvSpPr>
        <p:spPr bwMode="auto">
          <a:xfrm>
            <a:off x="1763688" y="3054082"/>
            <a:ext cx="5410200" cy="4162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914400" indent="-4572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55000"/>
              <a:buFont typeface="Wingdings" pitchFamily="2" charset="2"/>
              <a:buChar char="n"/>
            </a:pPr>
            <a:r>
              <a:rPr lang="hu-HU" sz="2000" dirty="0">
                <a:solidFill>
                  <a:srgbClr val="000099"/>
                </a:solidFill>
              </a:rPr>
              <a:t>5 </a:t>
            </a:r>
            <a:r>
              <a:rPr lang="hu-HU" sz="2000" dirty="0" smtClean="0">
                <a:solidFill>
                  <a:srgbClr val="000099"/>
                </a:solidFill>
              </a:rPr>
              <a:t>M Ft/kár </a:t>
            </a:r>
            <a:r>
              <a:rPr lang="hu-HU" sz="2000" dirty="0">
                <a:solidFill>
                  <a:srgbClr val="000099"/>
                </a:solidFill>
              </a:rPr>
              <a:t>és 15 </a:t>
            </a:r>
            <a:r>
              <a:rPr lang="hu-HU" sz="2000" dirty="0" smtClean="0">
                <a:solidFill>
                  <a:srgbClr val="000099"/>
                </a:solidFill>
              </a:rPr>
              <a:t>M Ft/év</a:t>
            </a:r>
            <a:endParaRPr lang="hu-HU" dirty="0">
              <a:solidFill>
                <a:srgbClr val="000099"/>
              </a:solidFill>
            </a:endParaRPr>
          </a:p>
        </p:txBody>
      </p:sp>
      <p:sp>
        <p:nvSpPr>
          <p:cNvPr id="24583" name="Text Box 7"/>
          <p:cNvSpPr txBox="1">
            <a:spLocks noChangeArrowheads="1"/>
          </p:cNvSpPr>
          <p:nvPr/>
        </p:nvSpPr>
        <p:spPr bwMode="auto">
          <a:xfrm>
            <a:off x="1773474" y="3659370"/>
            <a:ext cx="5410200" cy="41620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914400" indent="-4572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55000"/>
              <a:buFont typeface="Wingdings" pitchFamily="2" charset="2"/>
              <a:buChar char="n"/>
            </a:pPr>
            <a:r>
              <a:rPr lang="hu-HU" sz="2000" dirty="0">
                <a:solidFill>
                  <a:srgbClr val="000099"/>
                </a:solidFill>
              </a:rPr>
              <a:t>15 </a:t>
            </a:r>
            <a:r>
              <a:rPr lang="hu-HU" sz="2000" dirty="0" smtClean="0">
                <a:solidFill>
                  <a:srgbClr val="000099"/>
                </a:solidFill>
              </a:rPr>
              <a:t>M Ft/kár </a:t>
            </a:r>
            <a:r>
              <a:rPr lang="hu-HU" sz="2000" dirty="0">
                <a:solidFill>
                  <a:srgbClr val="000099"/>
                </a:solidFill>
              </a:rPr>
              <a:t>és 45 </a:t>
            </a:r>
            <a:r>
              <a:rPr lang="hu-HU" sz="2000" dirty="0" smtClean="0">
                <a:solidFill>
                  <a:srgbClr val="000099"/>
                </a:solidFill>
              </a:rPr>
              <a:t>M Ft/év</a:t>
            </a:r>
            <a:endParaRPr lang="hu-HU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52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BC ÜZEMSZÜNET-BIZTOSÍTÁS</a:t>
            </a: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915281438"/>
              </p:ext>
            </p:extLst>
          </p:nvPr>
        </p:nvGraphicFramePr>
        <p:xfrm>
          <a:off x="179388" y="980728"/>
          <a:ext cx="8785225" cy="1728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0724" name="Text Box 4"/>
          <p:cNvSpPr txBox="1">
            <a:spLocks noChangeArrowheads="1"/>
          </p:cNvSpPr>
          <p:nvPr/>
        </p:nvSpPr>
        <p:spPr bwMode="auto">
          <a:xfrm>
            <a:off x="251520" y="2132856"/>
            <a:ext cx="5832648" cy="4462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914400" indent="-4572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55000"/>
              <a:buFont typeface="Wingdings" pitchFamily="2" charset="2"/>
              <a:buChar char="n"/>
            </a:pPr>
            <a:r>
              <a:rPr lang="hu-HU" sz="2000" b="1" dirty="0" smtClean="0">
                <a:solidFill>
                  <a:srgbClr val="000099"/>
                </a:solidFill>
              </a:rPr>
              <a:t>Alap csomag: </a:t>
            </a:r>
            <a:r>
              <a:rPr lang="hu-HU" sz="2000" b="1" dirty="0">
                <a:solidFill>
                  <a:srgbClr val="000099"/>
                </a:solidFill>
              </a:rPr>
              <a:t>3 </a:t>
            </a:r>
            <a:r>
              <a:rPr lang="hu-HU" sz="2000" b="1" dirty="0" smtClean="0">
                <a:solidFill>
                  <a:srgbClr val="000099"/>
                </a:solidFill>
              </a:rPr>
              <a:t>hónap, </a:t>
            </a:r>
            <a:r>
              <a:rPr lang="hu-HU" sz="2000" b="1" dirty="0" err="1" smtClean="0">
                <a:solidFill>
                  <a:srgbClr val="000099"/>
                </a:solidFill>
              </a:rPr>
              <a:t>max</a:t>
            </a:r>
            <a:r>
              <a:rPr lang="hu-HU" sz="2000" b="1" dirty="0" smtClean="0">
                <a:solidFill>
                  <a:srgbClr val="000099"/>
                </a:solidFill>
              </a:rPr>
              <a:t>. </a:t>
            </a:r>
            <a:r>
              <a:rPr lang="hu-HU" sz="2000" b="1" dirty="0">
                <a:solidFill>
                  <a:srgbClr val="000099"/>
                </a:solidFill>
              </a:rPr>
              <a:t>25 </a:t>
            </a:r>
            <a:r>
              <a:rPr lang="hu-HU" sz="2000" b="1" dirty="0" smtClean="0">
                <a:solidFill>
                  <a:srgbClr val="000099"/>
                </a:solidFill>
              </a:rPr>
              <a:t>M Ft</a:t>
            </a:r>
            <a:endParaRPr lang="hu-HU" sz="2000" b="1" dirty="0">
              <a:solidFill>
                <a:srgbClr val="000099"/>
              </a:solidFill>
            </a:endParaRPr>
          </a:p>
        </p:txBody>
      </p:sp>
      <p:sp>
        <p:nvSpPr>
          <p:cNvPr id="30725" name="Text Box 5"/>
          <p:cNvSpPr txBox="1">
            <a:spLocks noChangeArrowheads="1"/>
          </p:cNvSpPr>
          <p:nvPr/>
        </p:nvSpPr>
        <p:spPr bwMode="auto">
          <a:xfrm>
            <a:off x="899592" y="3645024"/>
            <a:ext cx="4320480" cy="169277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wrap="square">
            <a:spAutoFit/>
          </a:bodyPr>
          <a:lstStyle>
            <a:lvl1pPr marL="342900" indent="-342900">
              <a:defRPr sz="2400">
                <a:solidFill>
                  <a:schemeClr val="tx1"/>
                </a:solidFill>
                <a:latin typeface="Arial" charset="0"/>
              </a:defRPr>
            </a:lvl1pPr>
            <a:lvl2pPr marL="914400" indent="-45720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55000"/>
              <a:buFont typeface="Wingdings" pitchFamily="2" charset="2"/>
              <a:buChar char="n"/>
            </a:pPr>
            <a:r>
              <a:rPr lang="hu-HU" sz="2000" b="1" dirty="0" smtClean="0">
                <a:solidFill>
                  <a:srgbClr val="000099"/>
                </a:solidFill>
              </a:rPr>
              <a:t>Bővített csomag:</a:t>
            </a:r>
          </a:p>
          <a:p>
            <a:pPr lvl="2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55000"/>
              <a:buFont typeface="Wingdings" pitchFamily="2" charset="2"/>
              <a:buChar char="n"/>
            </a:pPr>
            <a:r>
              <a:rPr lang="hu-HU" sz="2000" b="1" dirty="0" smtClean="0">
                <a:solidFill>
                  <a:srgbClr val="000099"/>
                </a:solidFill>
              </a:rPr>
              <a:t>  6 hónap, </a:t>
            </a:r>
            <a:r>
              <a:rPr lang="hu-HU" sz="2000" b="1" dirty="0" err="1" smtClean="0">
                <a:solidFill>
                  <a:srgbClr val="000099"/>
                </a:solidFill>
              </a:rPr>
              <a:t>max</a:t>
            </a:r>
            <a:r>
              <a:rPr lang="hu-HU" sz="2000" b="1" dirty="0" smtClean="0">
                <a:solidFill>
                  <a:srgbClr val="000099"/>
                </a:solidFill>
              </a:rPr>
              <a:t>. 50 M Ft</a:t>
            </a:r>
          </a:p>
          <a:p>
            <a:pPr lvl="2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55000"/>
              <a:buFont typeface="Wingdings" pitchFamily="2" charset="2"/>
              <a:buChar char="n"/>
            </a:pPr>
            <a:r>
              <a:rPr lang="hu-HU" sz="2000" b="1" dirty="0">
                <a:solidFill>
                  <a:srgbClr val="000099"/>
                </a:solidFill>
              </a:rPr>
              <a:t>12 </a:t>
            </a:r>
            <a:r>
              <a:rPr lang="hu-HU" sz="2000" b="1" dirty="0" smtClean="0">
                <a:solidFill>
                  <a:srgbClr val="000099"/>
                </a:solidFill>
              </a:rPr>
              <a:t>hónap, </a:t>
            </a:r>
            <a:r>
              <a:rPr lang="hu-HU" sz="2000" b="1" dirty="0" err="1">
                <a:solidFill>
                  <a:srgbClr val="000099"/>
                </a:solidFill>
              </a:rPr>
              <a:t>max</a:t>
            </a:r>
            <a:r>
              <a:rPr lang="hu-HU" sz="2000" b="1" dirty="0">
                <a:solidFill>
                  <a:srgbClr val="000099"/>
                </a:solidFill>
              </a:rPr>
              <a:t>. 100 M </a:t>
            </a:r>
            <a:r>
              <a:rPr lang="hu-HU" sz="2000" b="1" dirty="0" smtClean="0">
                <a:solidFill>
                  <a:srgbClr val="000099"/>
                </a:solidFill>
              </a:rPr>
              <a:t>Ft</a:t>
            </a:r>
          </a:p>
          <a:p>
            <a:pPr lvl="2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55000"/>
              <a:buFont typeface="Wingdings" pitchFamily="2" charset="2"/>
              <a:buChar char="n"/>
            </a:pPr>
            <a:r>
              <a:rPr lang="hu-HU" sz="2000" b="1" dirty="0">
                <a:solidFill>
                  <a:srgbClr val="000099"/>
                </a:solidFill>
              </a:rPr>
              <a:t>12 </a:t>
            </a:r>
            <a:r>
              <a:rPr lang="hu-HU" sz="2000" b="1" dirty="0" smtClean="0">
                <a:solidFill>
                  <a:srgbClr val="000099"/>
                </a:solidFill>
              </a:rPr>
              <a:t>hónap, </a:t>
            </a:r>
            <a:r>
              <a:rPr lang="hu-HU" sz="2000" b="1" dirty="0" err="1">
                <a:solidFill>
                  <a:srgbClr val="000099"/>
                </a:solidFill>
              </a:rPr>
              <a:t>max</a:t>
            </a:r>
            <a:r>
              <a:rPr lang="hu-HU" sz="2000" b="1" dirty="0">
                <a:solidFill>
                  <a:srgbClr val="000099"/>
                </a:solidFill>
              </a:rPr>
              <a:t>. 150 M Ft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2182688" y="2636913"/>
            <a:ext cx="6565776" cy="720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60000"/>
              <a:buFont typeface="Wingdings" pitchFamily="2" charset="2"/>
              <a:buChar char="l"/>
              <a:defRPr sz="3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55000"/>
              <a:buFont typeface="Wingdings" pitchFamily="2" charset="2"/>
              <a:buChar char="n"/>
              <a:defRPr sz="2800">
                <a:solidFill>
                  <a:srgbClr val="000000"/>
                </a:solidFill>
                <a:latin typeface="+mn-lt"/>
              </a:defRPr>
            </a:lvl2pPr>
            <a:lvl3pPr marL="1143000" indent="-2286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Wingdings" pitchFamily="2" charset="2"/>
              <a:buChar char="Ø"/>
              <a:defRPr sz="2600">
                <a:solidFill>
                  <a:srgbClr val="000000"/>
                </a:solidFill>
                <a:latin typeface="+mn-lt"/>
              </a:defRPr>
            </a:lvl3pPr>
            <a:lvl4pPr marL="1562100" indent="-2286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45000"/>
              <a:buFont typeface="Wingdings" pitchFamily="2" charset="2"/>
              <a:buChar char="u"/>
              <a:defRPr sz="2400">
                <a:solidFill>
                  <a:srgbClr val="000000"/>
                </a:solidFill>
                <a:latin typeface="+mn-lt"/>
              </a:defRPr>
            </a:lvl4pPr>
            <a:lvl5pPr marL="1981200" indent="-2286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90000"/>
              <a:buChar char="»"/>
              <a:defRPr sz="2000">
                <a:solidFill>
                  <a:srgbClr val="000000"/>
                </a:solidFill>
                <a:latin typeface="+mn-lt"/>
              </a:defRPr>
            </a:lvl5pPr>
            <a:lvl6pPr marL="2438400" indent="-2286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90000"/>
              <a:buChar char="»"/>
              <a:defRPr sz="2000">
                <a:solidFill>
                  <a:srgbClr val="000000"/>
                </a:solidFill>
                <a:latin typeface="+mn-lt"/>
              </a:defRPr>
            </a:lvl6pPr>
            <a:lvl7pPr marL="2895600" indent="-2286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90000"/>
              <a:buChar char="»"/>
              <a:defRPr sz="2000">
                <a:solidFill>
                  <a:srgbClr val="000000"/>
                </a:solidFill>
                <a:latin typeface="+mn-lt"/>
              </a:defRPr>
            </a:lvl7pPr>
            <a:lvl8pPr marL="3352800" indent="-2286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90000"/>
              <a:buChar char="»"/>
              <a:defRPr sz="2000">
                <a:solidFill>
                  <a:srgbClr val="000000"/>
                </a:solidFill>
                <a:latin typeface="+mn-lt"/>
              </a:defRPr>
            </a:lvl8pPr>
            <a:lvl9pPr marL="3810000" indent="-228600" algn="l" rtl="0" eaLnBrk="1" fontAlgn="base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0000"/>
              </a:buClr>
              <a:buSzPct val="90000"/>
              <a:buChar char="»"/>
              <a:defRPr sz="2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hu-HU" sz="1800" b="1" kern="0" dirty="0" smtClean="0">
                <a:solidFill>
                  <a:srgbClr val="000099"/>
                </a:solidFill>
              </a:rPr>
              <a:t>Tűz / Robbanás / Villámcsapás / Légi járművek, azok alkatrészeinek és rakományainak lezuhanása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5442272" y="3789041"/>
            <a:ext cx="3450208" cy="194421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>
                <a:solidFill>
                  <a:srgbClr val="000099"/>
                </a:solidFill>
                <a:latin typeface="+mn-lt"/>
              </a:rPr>
              <a:t>Villámcsapás másodlagos hatása</a:t>
            </a:r>
          </a:p>
          <a:p>
            <a:pPr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 smtClean="0">
                <a:solidFill>
                  <a:srgbClr val="000099"/>
                </a:solidFill>
                <a:latin typeface="+mn-lt"/>
              </a:rPr>
              <a:t>Vihar /Felhőszakadás /Jégverés</a:t>
            </a:r>
            <a:endParaRPr lang="hu-HU" sz="1600" b="1" kern="0" dirty="0">
              <a:solidFill>
                <a:srgbClr val="000099"/>
              </a:solidFill>
              <a:latin typeface="+mn-lt"/>
            </a:endParaRPr>
          </a:p>
          <a:p>
            <a:pPr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 err="1" smtClean="0">
                <a:solidFill>
                  <a:srgbClr val="000099"/>
                </a:solidFill>
                <a:latin typeface="+mn-lt"/>
              </a:rPr>
              <a:t>Hónyomás</a:t>
            </a:r>
            <a:r>
              <a:rPr lang="hu-HU" sz="1600" b="1" kern="0" dirty="0" smtClean="0">
                <a:solidFill>
                  <a:srgbClr val="000099"/>
                </a:solidFill>
                <a:latin typeface="+mn-lt"/>
              </a:rPr>
              <a:t> / Földrengés</a:t>
            </a:r>
            <a:endParaRPr lang="hu-HU" sz="1600" b="1" kern="0" dirty="0">
              <a:solidFill>
                <a:srgbClr val="000099"/>
              </a:solidFill>
              <a:latin typeface="+mn-lt"/>
            </a:endParaRPr>
          </a:p>
          <a:p>
            <a:pPr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>
                <a:solidFill>
                  <a:srgbClr val="000099"/>
                </a:solidFill>
                <a:latin typeface="+mn-lt"/>
              </a:rPr>
              <a:t>Vezetékes </a:t>
            </a:r>
            <a:r>
              <a:rPr lang="hu-HU" sz="1600" b="1" kern="0" dirty="0" smtClean="0">
                <a:solidFill>
                  <a:srgbClr val="000099"/>
                </a:solidFill>
                <a:latin typeface="+mn-lt"/>
              </a:rPr>
              <a:t>vízkárok</a:t>
            </a:r>
            <a:endParaRPr lang="hu-HU" sz="1600" b="1" kern="0" dirty="0">
              <a:solidFill>
                <a:srgbClr val="000099"/>
              </a:solidFill>
              <a:latin typeface="+mn-lt"/>
            </a:endParaRPr>
          </a:p>
          <a:p>
            <a:pPr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>
                <a:solidFill>
                  <a:srgbClr val="000099"/>
                </a:solidFill>
                <a:latin typeface="+mn-lt"/>
              </a:rPr>
              <a:t>Technológiai csővezeték törése</a:t>
            </a:r>
          </a:p>
          <a:p>
            <a:pPr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 smtClean="0">
                <a:solidFill>
                  <a:srgbClr val="000099"/>
                </a:solidFill>
                <a:latin typeface="+mn-lt"/>
              </a:rPr>
              <a:t>Árvíz / Földmozgás</a:t>
            </a:r>
            <a:endParaRPr lang="hu-HU" sz="1600" b="1" kern="0" dirty="0">
              <a:solidFill>
                <a:srgbClr val="000099"/>
              </a:solidFill>
              <a:latin typeface="+mn-lt"/>
            </a:endParaRPr>
          </a:p>
        </p:txBody>
      </p:sp>
      <p:sp>
        <p:nvSpPr>
          <p:cNvPr id="5" name="Szövegdoboz 4"/>
          <p:cNvSpPr txBox="1"/>
          <p:nvPr/>
        </p:nvSpPr>
        <p:spPr>
          <a:xfrm>
            <a:off x="1038525" y="5949280"/>
            <a:ext cx="7453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800" b="1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íjszámítás alapja a vagyonbiztosítási (épület +ingóság) </a:t>
            </a:r>
            <a:r>
              <a:rPr lang="hu-HU" sz="1800" b="1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sszeg.</a:t>
            </a:r>
            <a:endParaRPr lang="hu-HU" sz="1800" b="1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7331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BC GÉPTÖRÉS-BIZTOSÍTÁS</a:t>
            </a:r>
          </a:p>
        </p:txBody>
      </p:sp>
      <p:sp>
        <p:nvSpPr>
          <p:cNvPr id="3" name="Téglalap 2"/>
          <p:cNvSpPr/>
          <p:nvPr/>
        </p:nvSpPr>
        <p:spPr>
          <a:xfrm>
            <a:off x="154555" y="2420887"/>
            <a:ext cx="4921502" cy="720081"/>
          </a:xfrm>
          <a:prstGeom prst="rect">
            <a:avLst/>
          </a:prstGeom>
        </p:spPr>
        <p:txBody>
          <a:bodyPr/>
          <a:lstStyle/>
          <a:p>
            <a:r>
              <a:rPr lang="hu-HU" dirty="0" smtClean="0">
                <a:solidFill>
                  <a:srgbClr val="000099"/>
                </a:solidFill>
              </a:rPr>
              <a:t>Géptörés és gépbaleset kockázat</a:t>
            </a:r>
          </a:p>
        </p:txBody>
      </p:sp>
      <p:pic>
        <p:nvPicPr>
          <p:cNvPr id="6146" name="Picture 2" descr="Képtalálat a következ&amp;odblac;re: „géptörés”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592" y="2852936"/>
            <a:ext cx="3586997" cy="230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zövegdoboz 1"/>
          <p:cNvSpPr txBox="1"/>
          <p:nvPr/>
        </p:nvSpPr>
        <p:spPr>
          <a:xfrm>
            <a:off x="179388" y="3140968"/>
            <a:ext cx="504068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buClr>
                <a:srgbClr val="C00000"/>
              </a:buClr>
            </a:pPr>
            <a:r>
              <a:rPr lang="hu-HU" dirty="0" smtClean="0">
                <a:solidFill>
                  <a:srgbClr val="000099"/>
                </a:solidFill>
              </a:rPr>
              <a:t>Saját</a:t>
            </a:r>
            <a:r>
              <a:rPr lang="hu-HU" dirty="0">
                <a:solidFill>
                  <a:srgbClr val="000099"/>
                </a:solidFill>
              </a:rPr>
              <a:t>, bérelt (kölcsönvett, lízingelt, kipróbálásra átvett), illetve működtetett műszaki berendezések </a:t>
            </a:r>
            <a:r>
              <a:rPr lang="hu-HU" dirty="0" smtClean="0">
                <a:solidFill>
                  <a:srgbClr val="000099"/>
                </a:solidFill>
              </a:rPr>
              <a:t>– lista!</a:t>
            </a:r>
          </a:p>
          <a:p>
            <a:pPr lvl="0">
              <a:buClr>
                <a:srgbClr val="C00000"/>
              </a:buClr>
            </a:pPr>
            <a:endParaRPr lang="hu-HU" dirty="0">
              <a:solidFill>
                <a:srgbClr val="000099"/>
              </a:solidFill>
            </a:endParaRPr>
          </a:p>
          <a:p>
            <a:pPr lvl="0">
              <a:buClr>
                <a:srgbClr val="C00000"/>
              </a:buClr>
            </a:pPr>
            <a:r>
              <a:rPr lang="hu-HU" dirty="0" smtClean="0">
                <a:solidFill>
                  <a:srgbClr val="FF0000"/>
                </a:solidFill>
              </a:rPr>
              <a:t>Számítógépek és elektronikus gépek ebben nem biztosíthatóak!</a:t>
            </a:r>
            <a:endParaRPr lang="hu-HU" dirty="0">
              <a:solidFill>
                <a:srgbClr val="FF0000"/>
              </a:solidFill>
            </a:endParaRPr>
          </a:p>
        </p:txBody>
      </p:sp>
      <p:grpSp>
        <p:nvGrpSpPr>
          <p:cNvPr id="6" name="Csoportba foglalás 5"/>
          <p:cNvGrpSpPr/>
          <p:nvPr/>
        </p:nvGrpSpPr>
        <p:grpSpPr>
          <a:xfrm>
            <a:off x="179512" y="1275055"/>
            <a:ext cx="8785225" cy="857801"/>
            <a:chOff x="0" y="216018"/>
            <a:chExt cx="8785225" cy="857801"/>
          </a:xfrm>
        </p:grpSpPr>
        <p:sp>
          <p:nvSpPr>
            <p:cNvPr id="7" name="Lekerekített téglalap 6"/>
            <p:cNvSpPr/>
            <p:nvPr/>
          </p:nvSpPr>
          <p:spPr>
            <a:xfrm>
              <a:off x="0" y="216018"/>
              <a:ext cx="8785225" cy="857801"/>
            </a:xfrm>
            <a:prstGeom prst="roundRect">
              <a:avLst/>
            </a:prstGeom>
            <a:solidFill>
              <a:srgbClr val="A7BCFF"/>
            </a:solidFill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Lekerekített téglalap 4"/>
            <p:cNvSpPr/>
            <p:nvPr/>
          </p:nvSpPr>
          <p:spPr>
            <a:xfrm>
              <a:off x="41874" y="257892"/>
              <a:ext cx="8701477" cy="7740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200" kern="1200" dirty="0" smtClean="0">
                  <a:solidFill>
                    <a:srgbClr val="000099"/>
                  </a:solidFill>
                </a:rPr>
                <a:t>Épület+ingóság vagy ingóság biztosítás mellé köthető</a:t>
              </a:r>
              <a:endParaRPr lang="hu-HU" sz="2200" kern="1200" dirty="0">
                <a:solidFill>
                  <a:srgbClr val="00009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2841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ELEKTROMOS ÉS ELEKTRONIKUS BERENDEZÉSEK BIZTOSÍTÁSA (ELBER)</a:t>
            </a: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544801499"/>
              </p:ext>
            </p:extLst>
          </p:nvPr>
        </p:nvGraphicFramePr>
        <p:xfrm>
          <a:off x="179388" y="1268413"/>
          <a:ext cx="8785225" cy="5184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4" name="Csoportba foglalás 3"/>
          <p:cNvGrpSpPr/>
          <p:nvPr/>
        </p:nvGrpSpPr>
        <p:grpSpPr>
          <a:xfrm>
            <a:off x="251520" y="1196752"/>
            <a:ext cx="8785225" cy="857801"/>
            <a:chOff x="0" y="216018"/>
            <a:chExt cx="8785225" cy="857801"/>
          </a:xfrm>
        </p:grpSpPr>
        <p:sp>
          <p:nvSpPr>
            <p:cNvPr id="5" name="Lekerekített téglalap 4"/>
            <p:cNvSpPr/>
            <p:nvPr/>
          </p:nvSpPr>
          <p:spPr>
            <a:xfrm>
              <a:off x="0" y="216018"/>
              <a:ext cx="8785225" cy="857801"/>
            </a:xfrm>
            <a:prstGeom prst="roundRect">
              <a:avLst/>
            </a:prstGeom>
            <a:solidFill>
              <a:srgbClr val="A7BCFF"/>
            </a:solidFill>
          </p:spPr>
          <p:style>
            <a:lnRef idx="2">
              <a:schemeClr val="dk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" name="Lekerekített téglalap 4"/>
            <p:cNvSpPr/>
            <p:nvPr/>
          </p:nvSpPr>
          <p:spPr>
            <a:xfrm>
              <a:off x="41874" y="257892"/>
              <a:ext cx="8701477" cy="7740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1440" tIns="91440" rIns="91440" bIns="91440" numCol="1" spcCol="1270" anchor="ctr" anchorCtr="0">
              <a:noAutofit/>
            </a:bodyPr>
            <a:lstStyle/>
            <a:p>
              <a:pPr lvl="0" algn="ctr" defTabSz="10668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200" kern="1200" dirty="0" smtClean="0">
                  <a:solidFill>
                    <a:srgbClr val="000099"/>
                  </a:solidFill>
                </a:rPr>
                <a:t>Épület+ingóság vagy ingóság biztosítás mellé köthető</a:t>
              </a:r>
              <a:endParaRPr lang="hu-HU" sz="2200" kern="1200" dirty="0">
                <a:solidFill>
                  <a:srgbClr val="00009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6647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>
                <a:solidFill>
                  <a:srgbClr val="000099"/>
                </a:solidFill>
              </a:rPr>
              <a:t>ÖNRÉSZESEDÉS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u-HU" sz="2400" dirty="0" smtClean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C-ben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thető vagyonbiztosítás (épület és ingóság)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ár önrész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élkül, de az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veg-, Üzemszünet-, Géptörés-, ELBER-, Felelősségbiztosítások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ak különböző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ikusnak mondható önrészekkel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thetők</a:t>
            </a:r>
          </a:p>
          <a:p>
            <a:endParaRPr lang="hu-HU" sz="2000" dirty="0" smtClean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ediben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tszőleges önrészesedés választható</a:t>
            </a:r>
          </a:p>
          <a:p>
            <a:pPr lvl="1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pikus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önrészek vagyonbiztosításnál 50 e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t</a:t>
            </a:r>
          </a:p>
          <a:p>
            <a:pPr lvl="1"/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nél magasabb önrész alacsonyabb díjat vonz</a:t>
            </a:r>
          </a:p>
        </p:txBody>
      </p:sp>
    </p:spTree>
    <p:extLst>
      <p:ext uri="{BB962C8B-B14F-4D97-AF65-F5344CB8AC3E}">
        <p14:creationId xmlns:p14="http://schemas.microsoft.com/office/powerpoint/2010/main" val="158035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ZÁRADÉKOK, KIZÁRÁSOK</a:t>
            </a:r>
            <a:endParaRPr lang="hu-HU" sz="2400" dirty="0">
              <a:solidFill>
                <a:srgbClr val="000099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ikus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zárások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C – nincs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éptörés/ELBER/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sks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ép – nincs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lelősség – van (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Ép-Szer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áradékkal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szaemelhető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jogellenes, szándékos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árokozás vagy súlyos gondatlanság mentesülési ok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/ BC  21.2.  a) - i) /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árakozási idők: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rvíz: 30 nap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ldmozgás (földcsuszamlás, föld- és kőomlás): 30 nap</a:t>
            </a:r>
          </a:p>
        </p:txBody>
      </p:sp>
    </p:spTree>
    <p:extLst>
      <p:ext uri="{BB962C8B-B14F-4D97-AF65-F5344CB8AC3E}">
        <p14:creationId xmlns:p14="http://schemas.microsoft.com/office/powerpoint/2010/main" val="1152894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74604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Folie" r:id="rId5" imgW="572" imgH="572" progId="TCLayout.ActiveDocument.1">
                  <p:embed/>
                </p:oleObj>
              </mc:Choice>
              <mc:Fallback>
                <p:oleObj name="think-cell Folie" r:id="rId5" imgW="572" imgH="5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79884"/>
            <a:ext cx="6887557" cy="763138"/>
          </a:xfrm>
        </p:spPr>
        <p:txBody>
          <a:bodyPr/>
          <a:lstStyle/>
          <a:p>
            <a:r>
              <a:rPr lang="en-US" sz="2400" dirty="0">
                <a:solidFill>
                  <a:srgbClr val="000099"/>
                </a:solidFill>
              </a:rPr>
              <a:t>A VIENNA INSURANCE GROUP…</a:t>
            </a:r>
            <a:endParaRPr lang="de-DE" sz="2400" dirty="0">
              <a:solidFill>
                <a:srgbClr val="000099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731A11F-3C58-714F-BABB-8D988CD72E81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3155668" y="1268760"/>
            <a:ext cx="2811600" cy="2520280"/>
            <a:chOff x="3155668" y="1283374"/>
            <a:chExt cx="2811600" cy="252028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3" name="Rectangle 3"/>
            <p:cNvSpPr txBox="1">
              <a:spLocks noChangeArrowheads="1"/>
            </p:cNvSpPr>
            <p:nvPr/>
          </p:nvSpPr>
          <p:spPr>
            <a:xfrm>
              <a:off x="3158368" y="1283654"/>
              <a:ext cx="2808000" cy="2520000"/>
            </a:xfrm>
            <a:prstGeom prst="roundRect">
              <a:avLst>
                <a:gd name="adj" fmla="val 6985"/>
              </a:avLst>
            </a:prstGeom>
            <a:solidFill>
              <a:schemeClr val="accent4"/>
            </a:solidFill>
          </p:spPr>
          <p:txBody>
            <a:bodyPr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7"/>
                </a:buBlip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7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AT" sz="1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5" name="Auf der gleichen Seite des Rechtecks liegende Ecken abrunden 114"/>
            <p:cNvSpPr/>
            <p:nvPr/>
          </p:nvSpPr>
          <p:spPr>
            <a:xfrm>
              <a:off x="3155668" y="1283374"/>
              <a:ext cx="2811600" cy="850620"/>
            </a:xfrm>
            <a:prstGeom prst="round2SameRect">
              <a:avLst>
                <a:gd name="adj1" fmla="val 25490"/>
                <a:gd name="adj2" fmla="val 0"/>
              </a:avLst>
            </a:prstGeom>
            <a:solidFill>
              <a:srgbClr val="000000">
                <a:alpha val="50196"/>
              </a:srgbClr>
            </a:solidFill>
          </p:spPr>
          <p:txBody>
            <a:bodyPr wrap="square" lIns="72000" tIns="36000" rIns="72000" bIns="36000" anchor="ctr">
              <a:noAutofit/>
            </a:bodyPr>
            <a:lstStyle/>
            <a:p>
              <a:pPr lvl="0"/>
              <a:r>
                <a:rPr lang="en-US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…</a:t>
              </a:r>
              <a:r>
                <a:rPr lang="hu-HU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5</a:t>
              </a:r>
              <a:r>
                <a:rPr lang="en-US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0 </a:t>
              </a:r>
              <a:r>
                <a:rPr lang="en-US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biztosító</a:t>
              </a:r>
              <a:r>
                <a:rPr lang="en-US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en-US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tár</a:t>
              </a:r>
              <a:r>
                <a:rPr lang="hu-HU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saságot</a:t>
              </a:r>
              <a:r>
                <a:rPr lang="hu-HU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működtet</a:t>
              </a:r>
              <a:endParaRPr lang="en-US" sz="1800" dirty="0">
                <a:solidFill>
                  <a:schemeClr val="bg1"/>
                </a:solidFill>
                <a:latin typeface="Franklin Gothic Medium" panose="020B0603020102020204" pitchFamily="34" charset="0"/>
              </a:endParaRP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6077527" y="1282236"/>
            <a:ext cx="2811600" cy="2520000"/>
            <a:chOff x="6077527" y="1282236"/>
            <a:chExt cx="2811600" cy="2520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6" name="Rectangle 3"/>
            <p:cNvSpPr txBox="1">
              <a:spLocks noChangeArrowheads="1"/>
            </p:cNvSpPr>
            <p:nvPr/>
          </p:nvSpPr>
          <p:spPr>
            <a:xfrm>
              <a:off x="6080227" y="1282236"/>
              <a:ext cx="2808000" cy="2520000"/>
            </a:xfrm>
            <a:prstGeom prst="roundRect">
              <a:avLst>
                <a:gd name="adj" fmla="val 6985"/>
              </a:avLst>
            </a:prstGeom>
            <a:solidFill>
              <a:schemeClr val="accent3"/>
            </a:solidFill>
          </p:spPr>
          <p:txBody>
            <a:bodyPr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7"/>
                </a:buBlip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7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AT" sz="18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17" name="Gruppieren 116"/>
            <p:cNvGrpSpPr/>
            <p:nvPr/>
          </p:nvGrpSpPr>
          <p:grpSpPr>
            <a:xfrm>
              <a:off x="6941042" y="1988714"/>
              <a:ext cx="1445319" cy="1524227"/>
              <a:chOff x="6900732" y="2003780"/>
              <a:chExt cx="1445319" cy="1524227"/>
            </a:xfrm>
          </p:grpSpPr>
          <p:pic>
            <p:nvPicPr>
              <p:cNvPr id="118" name="Picture 2"/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20778200">
                <a:off x="6900732" y="2003780"/>
                <a:ext cx="1188000" cy="1524227"/>
              </a:xfrm>
              <a:prstGeom prst="rect">
                <a:avLst/>
              </a:prstGeom>
              <a:ln w="127000" cap="rnd">
                <a:solidFill>
                  <a:srgbClr val="FFFFFF"/>
                </a:solidFill>
              </a:ln>
              <a:effectLst>
                <a:outerShdw blurRad="76200" dist="95250" dir="10500000" sx="97000" sy="23000" kx="900000" algn="br" rotWithShape="0">
                  <a:srgbClr val="000000">
                    <a:alpha val="20000"/>
                  </a:srgbClr>
                </a:outerShdw>
              </a:effectLst>
              <a:scene3d>
                <a:camera prst="orthographicFront"/>
                <a:lightRig rig="twoPt" dir="t">
                  <a:rot lat="0" lon="0" rev="7800000"/>
                </a:lightRig>
              </a:scene3d>
              <a:sp3d contourW="6350">
                <a:bevelT w="50800" h="16510"/>
                <a:contourClr>
                  <a:srgbClr val="C0C0C0"/>
                </a:contourClr>
              </a:sp3d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119" name="Rechteck 118"/>
              <p:cNvSpPr/>
              <p:nvPr/>
            </p:nvSpPr>
            <p:spPr>
              <a:xfrm rot="20700000">
                <a:off x="6970353" y="3261677"/>
                <a:ext cx="1375698" cy="24622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de-DE" sz="100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Standard </a:t>
                </a:r>
                <a:r>
                  <a:rPr lang="de-DE" sz="1000" dirty="0" err="1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and</a:t>
                </a:r>
                <a:r>
                  <a:rPr lang="de-DE" sz="1000" dirty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 </a:t>
                </a:r>
                <a:r>
                  <a:rPr lang="de-DE" sz="1000" dirty="0" err="1" smtClean="0"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Poor's</a:t>
                </a:r>
                <a:endParaRPr lang="de-DE" sz="10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120" name="Auf der gleichen Seite des Rechtecks liegende Ecken abrunden 119"/>
            <p:cNvSpPr/>
            <p:nvPr/>
          </p:nvSpPr>
          <p:spPr>
            <a:xfrm>
              <a:off x="6077527" y="1282236"/>
              <a:ext cx="2811600" cy="648000"/>
            </a:xfrm>
            <a:prstGeom prst="round2SameRect">
              <a:avLst>
                <a:gd name="adj1" fmla="val 25490"/>
                <a:gd name="adj2" fmla="val 0"/>
              </a:avLst>
            </a:prstGeom>
            <a:solidFill>
              <a:srgbClr val="000000">
                <a:alpha val="50196"/>
              </a:srgbClr>
            </a:solidFill>
          </p:spPr>
          <p:txBody>
            <a:bodyPr wrap="square" lIns="72000" tIns="36000" rIns="72000" bIns="36000" anchor="ctr">
              <a:noAutofit/>
            </a:bodyPr>
            <a:lstStyle/>
            <a:p>
              <a:pPr lvl="0"/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Minősítése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: </a:t>
              </a:r>
              <a:b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</a:br>
              <a:r>
                <a:rPr lang="en-US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A+ </a:t>
              </a:r>
              <a:r>
                <a:rPr lang="en-US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stabil</a:t>
              </a:r>
              <a:r>
                <a:rPr lang="en-US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en-US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kilátá</a:t>
              </a:r>
              <a:r>
                <a:rPr lang="hu-HU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sú</a:t>
              </a:r>
              <a:endParaRPr lang="de-AT" sz="1800" dirty="0">
                <a:solidFill>
                  <a:schemeClr val="bg1"/>
                </a:solidFill>
                <a:latin typeface="Franklin Gothic Medium" panose="020B0603020102020204" pitchFamily="34" charset="0"/>
              </a:endParaRP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6081065" y="3920178"/>
            <a:ext cx="2810700" cy="2520000"/>
            <a:chOff x="6081065" y="3920178"/>
            <a:chExt cx="2810700" cy="2520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5" name="Rectangle 3"/>
            <p:cNvSpPr txBox="1">
              <a:spLocks noChangeArrowheads="1"/>
            </p:cNvSpPr>
            <p:nvPr/>
          </p:nvSpPr>
          <p:spPr>
            <a:xfrm>
              <a:off x="6083765" y="3920178"/>
              <a:ext cx="2808000" cy="2520000"/>
            </a:xfrm>
            <a:prstGeom prst="roundRect">
              <a:avLst>
                <a:gd name="adj" fmla="val 6985"/>
              </a:avLst>
            </a:prstGeom>
            <a:solidFill>
              <a:schemeClr val="accent5"/>
            </a:solidFill>
          </p:spPr>
          <p:txBody>
            <a:bodyPr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7"/>
                </a:buBlip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7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AT" sz="180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126" name="Picture 31" descr="RINGTURM3"/>
            <p:cNvPicPr>
              <a:picLocks noChangeArrowheads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rightnessContrast bright="20000" contrast="2000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2260" y="4753030"/>
              <a:ext cx="1584000" cy="1532557"/>
            </a:xfrm>
            <a:prstGeom prst="round2DiagRect">
              <a:avLst>
                <a:gd name="adj1" fmla="val 16667"/>
                <a:gd name="adj2" fmla="val 0"/>
              </a:avLst>
            </a:prstGeom>
            <a:ln w="88900" cap="sq">
              <a:solidFill>
                <a:srgbClr val="FFFFFF"/>
              </a:solidFill>
              <a:miter lim="800000"/>
            </a:ln>
            <a:effectLst>
              <a:outerShdw blurRad="254000" algn="tl" rotWithShape="0">
                <a:srgbClr val="000000">
                  <a:alpha val="43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7" name="Auf der gleichen Seite des Rechtecks liegende Ecken abrunden 126"/>
            <p:cNvSpPr/>
            <p:nvPr/>
          </p:nvSpPr>
          <p:spPr>
            <a:xfrm>
              <a:off x="6081065" y="3920178"/>
              <a:ext cx="2808000" cy="648000"/>
            </a:xfrm>
            <a:prstGeom prst="round2SameRect">
              <a:avLst>
                <a:gd name="adj1" fmla="val 25490"/>
                <a:gd name="adj2" fmla="val 0"/>
              </a:avLst>
            </a:prstGeom>
            <a:solidFill>
              <a:srgbClr val="000000">
                <a:alpha val="50196"/>
              </a:srgbClr>
            </a:solidFill>
          </p:spPr>
          <p:txBody>
            <a:bodyPr wrap="square" lIns="72000" tIns="36000" rIns="72000" bIns="36000" anchor="ctr">
              <a:noAutofit/>
            </a:bodyPr>
            <a:lstStyle/>
            <a:p>
              <a:pPr lvl="0"/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…</a:t>
              </a:r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székhelye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Bécsben</a:t>
              </a:r>
              <a:r>
                <a:rPr lang="hu-HU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,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b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</a:br>
              <a:r>
                <a:rPr lang="de-DE" sz="1800" b="1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a Ringturmban van.</a:t>
              </a:r>
              <a:endParaRPr lang="de-DE" sz="1800" dirty="0">
                <a:solidFill>
                  <a:schemeClr val="bg1"/>
                </a:solidFill>
                <a:latin typeface="Franklin Gothic Medium" panose="020B0603020102020204" pitchFamily="34" charset="0"/>
              </a:endParaRPr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248487" y="3916102"/>
            <a:ext cx="2810700" cy="2520000"/>
            <a:chOff x="248487" y="3916102"/>
            <a:chExt cx="2810700" cy="2520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1" name="Rectangle 3"/>
            <p:cNvSpPr txBox="1">
              <a:spLocks noChangeArrowheads="1"/>
            </p:cNvSpPr>
            <p:nvPr/>
          </p:nvSpPr>
          <p:spPr>
            <a:xfrm>
              <a:off x="251187" y="3916102"/>
              <a:ext cx="2808000" cy="2520000"/>
            </a:xfrm>
            <a:prstGeom prst="roundRect">
              <a:avLst>
                <a:gd name="adj" fmla="val 6985"/>
              </a:avLst>
            </a:prstGeom>
            <a:solidFill>
              <a:schemeClr val="bg2"/>
            </a:solidFill>
          </p:spPr>
          <p:txBody>
            <a:bodyPr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7"/>
                </a:buBlip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7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AT" sz="1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2" name="Auf der gleichen Seite des Rechtecks liegende Ecken abrunden 121"/>
            <p:cNvSpPr/>
            <p:nvPr/>
          </p:nvSpPr>
          <p:spPr>
            <a:xfrm>
              <a:off x="248487" y="3933128"/>
              <a:ext cx="2808000" cy="648000"/>
            </a:xfrm>
            <a:prstGeom prst="round2SameRect">
              <a:avLst>
                <a:gd name="adj1" fmla="val 25490"/>
                <a:gd name="adj2" fmla="val 0"/>
              </a:avLst>
            </a:prstGeom>
            <a:solidFill>
              <a:srgbClr val="000000">
                <a:alpha val="50196"/>
              </a:srgbClr>
            </a:solidFill>
          </p:spPr>
          <p:txBody>
            <a:bodyPr wrap="square" lIns="72000" tIns="36000" rIns="72000" bIns="36000" anchor="ctr">
              <a:noAutofit/>
            </a:bodyPr>
            <a:lstStyle/>
            <a:p>
              <a:pPr lvl="0"/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…</a:t>
              </a:r>
              <a:r>
                <a:rPr lang="hu-HU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részvényeit a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bécsi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és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de-DE" sz="1800" dirty="0" err="1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p</a:t>
              </a:r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rágai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tőzsdéken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jegyzik</a:t>
              </a:r>
              <a:endParaRPr lang="de-DE" sz="1800" dirty="0">
                <a:solidFill>
                  <a:schemeClr val="bg1"/>
                </a:solidFill>
                <a:latin typeface="Franklin Gothic Medium" panose="020B0603020102020204" pitchFamily="34" charset="0"/>
              </a:endParaRPr>
            </a:p>
          </p:txBody>
        </p:sp>
        <p:pic>
          <p:nvPicPr>
            <p:cNvPr id="128" name="Picture 5"/>
            <p:cNvPicPr>
              <a:picLocks noChangeArrowheads="1"/>
            </p:cNvPicPr>
            <p:nvPr/>
          </p:nvPicPr>
          <p:blipFill rotWithShape="1">
            <a:blip r:embed="rId12"/>
            <a:srcRect l="40104" t="55298" r="48491" b="29283"/>
            <a:stretch/>
          </p:blipFill>
          <p:spPr bwMode="auto">
            <a:xfrm>
              <a:off x="649770" y="4756290"/>
              <a:ext cx="1980000" cy="1368411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stA="50000" endPos="15000" dist="38100" dir="5400000" sy="-100000" algn="bl" rotWithShape="0"/>
            </a:effectLst>
            <a:extLst/>
          </p:spPr>
        </p:pic>
      </p:grpSp>
      <p:grpSp>
        <p:nvGrpSpPr>
          <p:cNvPr id="13" name="Gruppieren 12"/>
          <p:cNvGrpSpPr/>
          <p:nvPr/>
        </p:nvGrpSpPr>
        <p:grpSpPr>
          <a:xfrm>
            <a:off x="3171413" y="3920178"/>
            <a:ext cx="2810700" cy="2520000"/>
            <a:chOff x="3171413" y="3920178"/>
            <a:chExt cx="2810700" cy="2520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0" name="Rectangle 3"/>
            <p:cNvSpPr txBox="1">
              <a:spLocks noChangeArrowheads="1"/>
            </p:cNvSpPr>
            <p:nvPr/>
          </p:nvSpPr>
          <p:spPr>
            <a:xfrm>
              <a:off x="3174113" y="3920178"/>
              <a:ext cx="2808000" cy="2520000"/>
            </a:xfrm>
            <a:prstGeom prst="roundRect">
              <a:avLst>
                <a:gd name="adj" fmla="val 6985"/>
              </a:avLst>
            </a:prstGeom>
            <a:solidFill>
              <a:schemeClr val="accent2"/>
            </a:solidFill>
          </p:spPr>
          <p:txBody>
            <a:bodyPr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7"/>
                </a:buBlip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7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AT" sz="1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2" name="Auf der gleichen Seite des Rechtecks liegende Ecken abrunden 61"/>
            <p:cNvSpPr/>
            <p:nvPr/>
          </p:nvSpPr>
          <p:spPr>
            <a:xfrm>
              <a:off x="3171413" y="3920178"/>
              <a:ext cx="2808000" cy="648000"/>
            </a:xfrm>
            <a:prstGeom prst="round2SameRect">
              <a:avLst>
                <a:gd name="adj1" fmla="val 25490"/>
                <a:gd name="adj2" fmla="val 0"/>
              </a:avLst>
            </a:prstGeom>
            <a:solidFill>
              <a:srgbClr val="000000">
                <a:alpha val="50196"/>
              </a:srgbClr>
            </a:solidFill>
          </p:spPr>
          <p:txBody>
            <a:bodyPr wrap="square" lIns="72000" tIns="36000" rIns="72000" bIns="36000" anchor="ctr">
              <a:noAutofit/>
            </a:bodyPr>
            <a:lstStyle/>
            <a:p>
              <a:pPr lvl="0"/>
              <a:r>
                <a:rPr lang="de-DE" sz="17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…23.000</a:t>
              </a:r>
              <a:r>
                <a:rPr lang="de-DE" sz="1700" b="1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de-DE" sz="17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munkatársat</a:t>
              </a:r>
              <a:r>
                <a:rPr lang="de-DE" sz="1700" dirty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r>
                <a:rPr lang="de-DE" sz="17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foglalkoztat</a:t>
              </a:r>
              <a:r>
                <a:rPr lang="de-DE" sz="17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a </a:t>
              </a:r>
              <a:r>
                <a:rPr lang="de-DE" sz="17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konszernben</a:t>
              </a:r>
              <a:endParaRPr lang="de-DE" sz="1700" dirty="0">
                <a:solidFill>
                  <a:schemeClr val="bg1"/>
                </a:solidFill>
                <a:latin typeface="Franklin Gothic Medium" panose="020B0603020102020204" pitchFamily="34" charset="0"/>
              </a:endParaRPr>
            </a:p>
          </p:txBody>
        </p:sp>
      </p:grpSp>
      <p:pic>
        <p:nvPicPr>
          <p:cNvPr id="10" name="Inhaltsplatzhalter 9"/>
          <p:cNvPicPr>
            <a:picLocks noGrp="1"/>
          </p:cNvPicPr>
          <p:nvPr>
            <p:ph idx="1"/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638" y="4788225"/>
            <a:ext cx="2808000" cy="13650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3" name="Gruppieren 2"/>
          <p:cNvGrpSpPr/>
          <p:nvPr/>
        </p:nvGrpSpPr>
        <p:grpSpPr>
          <a:xfrm>
            <a:off x="244949" y="1285402"/>
            <a:ext cx="2810700" cy="2520000"/>
            <a:chOff x="244949" y="1285402"/>
            <a:chExt cx="2810700" cy="2520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3" name="Rectangle 3"/>
            <p:cNvSpPr txBox="1">
              <a:spLocks noChangeArrowheads="1"/>
            </p:cNvSpPr>
            <p:nvPr/>
          </p:nvSpPr>
          <p:spPr>
            <a:xfrm>
              <a:off x="247649" y="1285402"/>
              <a:ext cx="2808000" cy="2520000"/>
            </a:xfrm>
            <a:prstGeom prst="roundRect">
              <a:avLst>
                <a:gd name="adj" fmla="val 6985"/>
              </a:avLst>
            </a:prstGeom>
            <a:solidFill>
              <a:schemeClr val="accent1"/>
            </a:solidFill>
          </p:spPr>
          <p:txBody>
            <a:bodyPr/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4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7"/>
                </a:buBlip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SzPct val="85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7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SzPct val="50000"/>
                <a:buFontTx/>
                <a:buBlip>
                  <a:blip r:embed="rId8"/>
                </a:buBlip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AT" sz="1800" dirty="0" smtClean="0">
                <a:solidFill>
                  <a:schemeClr val="tx1"/>
                </a:solidFill>
              </a:endParaRPr>
            </a:p>
          </p:txBody>
        </p:sp>
        <p:grpSp>
          <p:nvGrpSpPr>
            <p:cNvPr id="135" name="Gruppieren 134"/>
            <p:cNvGrpSpPr>
              <a:grpSpLocks noChangeAspect="1"/>
            </p:cNvGrpSpPr>
            <p:nvPr/>
          </p:nvGrpSpPr>
          <p:grpSpPr bwMode="gray">
            <a:xfrm>
              <a:off x="461922" y="1829466"/>
              <a:ext cx="2412000" cy="1876389"/>
              <a:chOff x="3241675" y="1576973"/>
              <a:chExt cx="5591506" cy="4349853"/>
            </a:xfrm>
            <a:solidFill>
              <a:schemeClr val="accent1"/>
            </a:solidFill>
            <a:effectLst>
              <a:outerShdw blurRad="127000" dist="508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36" name="Tschechische Republik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3972345" y="3274277"/>
                <a:ext cx="833193" cy="471926"/>
              </a:xfrm>
              <a:custGeom>
                <a:avLst/>
                <a:gdLst/>
                <a:ahLst/>
                <a:cxnLst>
                  <a:cxn ang="0">
                    <a:pos x="282" y="79"/>
                  </a:cxn>
                  <a:cxn ang="0">
                    <a:pos x="269" y="64"/>
                  </a:cxn>
                  <a:cxn ang="0">
                    <a:pos x="252" y="63"/>
                  </a:cxn>
                  <a:cxn ang="0">
                    <a:pos x="243" y="58"/>
                  </a:cxn>
                  <a:cxn ang="0">
                    <a:pos x="243" y="48"/>
                  </a:cxn>
                  <a:cxn ang="0">
                    <a:pos x="227" y="48"/>
                  </a:cxn>
                  <a:cxn ang="0">
                    <a:pos x="204" y="37"/>
                  </a:cxn>
                  <a:cxn ang="0">
                    <a:pos x="211" y="46"/>
                  </a:cxn>
                  <a:cxn ang="0">
                    <a:pos x="207" y="51"/>
                  </a:cxn>
                  <a:cxn ang="0">
                    <a:pos x="191" y="58"/>
                  </a:cxn>
                  <a:cxn ang="0">
                    <a:pos x="175" y="41"/>
                  </a:cxn>
                  <a:cxn ang="0">
                    <a:pos x="179" y="25"/>
                  </a:cxn>
                  <a:cxn ang="0">
                    <a:pos x="165" y="25"/>
                  </a:cxn>
                  <a:cxn ang="0">
                    <a:pos x="143" y="22"/>
                  </a:cxn>
                  <a:cxn ang="0">
                    <a:pos x="137" y="7"/>
                  </a:cxn>
                  <a:cxn ang="0">
                    <a:pos x="121" y="8"/>
                  </a:cxn>
                  <a:cxn ang="0">
                    <a:pos x="121" y="13"/>
                  </a:cxn>
                  <a:cxn ang="0">
                    <a:pos x="110" y="14"/>
                  </a:cxn>
                  <a:cxn ang="0">
                    <a:pos x="101" y="9"/>
                  </a:cxn>
                  <a:cxn ang="0">
                    <a:pos x="89" y="5"/>
                  </a:cxn>
                  <a:cxn ang="0">
                    <a:pos x="89" y="12"/>
                  </a:cxn>
                  <a:cxn ang="0">
                    <a:pos x="64" y="23"/>
                  </a:cxn>
                  <a:cxn ang="0">
                    <a:pos x="47" y="37"/>
                  </a:cxn>
                  <a:cxn ang="0">
                    <a:pos x="30" y="44"/>
                  </a:cxn>
                  <a:cxn ang="0">
                    <a:pos x="16" y="49"/>
                  </a:cxn>
                  <a:cxn ang="0">
                    <a:pos x="2" y="52"/>
                  </a:cxn>
                  <a:cxn ang="0">
                    <a:pos x="7" y="67"/>
                  </a:cxn>
                  <a:cxn ang="0">
                    <a:pos x="19" y="77"/>
                  </a:cxn>
                  <a:cxn ang="0">
                    <a:pos x="14" y="88"/>
                  </a:cxn>
                  <a:cxn ang="0">
                    <a:pos x="23" y="103"/>
                  </a:cxn>
                  <a:cxn ang="0">
                    <a:pos x="50" y="130"/>
                  </a:cxn>
                  <a:cxn ang="0">
                    <a:pos x="69" y="141"/>
                  </a:cxn>
                  <a:cxn ang="0">
                    <a:pos x="81" y="153"/>
                  </a:cxn>
                  <a:cxn ang="0">
                    <a:pos x="89" y="161"/>
                  </a:cxn>
                  <a:cxn ang="0">
                    <a:pos x="91" y="165"/>
                  </a:cxn>
                  <a:cxn ang="0">
                    <a:pos x="106" y="161"/>
                  </a:cxn>
                  <a:cxn ang="0">
                    <a:pos x="112" y="162"/>
                  </a:cxn>
                  <a:cxn ang="0">
                    <a:pos x="116" y="156"/>
                  </a:cxn>
                  <a:cxn ang="0">
                    <a:pos x="128" y="153"/>
                  </a:cxn>
                  <a:cxn ang="0">
                    <a:pos x="135" y="136"/>
                  </a:cxn>
                  <a:cxn ang="0">
                    <a:pos x="143" y="136"/>
                  </a:cxn>
                  <a:cxn ang="0">
                    <a:pos x="161" y="143"/>
                  </a:cxn>
                  <a:cxn ang="0">
                    <a:pos x="177" y="150"/>
                  </a:cxn>
                  <a:cxn ang="0">
                    <a:pos x="193" y="144"/>
                  </a:cxn>
                  <a:cxn ang="0">
                    <a:pos x="206" y="150"/>
                  </a:cxn>
                  <a:cxn ang="0">
                    <a:pos x="216" y="152"/>
                  </a:cxn>
                  <a:cxn ang="0">
                    <a:pos x="242" y="141"/>
                  </a:cxn>
                  <a:cxn ang="0">
                    <a:pos x="256" y="126"/>
                  </a:cxn>
                  <a:cxn ang="0">
                    <a:pos x="266" y="107"/>
                  </a:cxn>
                  <a:cxn ang="0">
                    <a:pos x="281" y="92"/>
                  </a:cxn>
                  <a:cxn ang="0">
                    <a:pos x="295" y="90"/>
                  </a:cxn>
                </a:cxnLst>
                <a:rect l="0" t="0" r="r" b="b"/>
                <a:pathLst>
                  <a:path w="295" h="167">
                    <a:moveTo>
                      <a:pt x="291" y="79"/>
                    </a:moveTo>
                    <a:cubicBezTo>
                      <a:pt x="282" y="79"/>
                      <a:pt x="282" y="79"/>
                      <a:pt x="282" y="79"/>
                    </a:cubicBezTo>
                    <a:cubicBezTo>
                      <a:pt x="279" y="67"/>
                      <a:pt x="279" y="67"/>
                      <a:pt x="279" y="67"/>
                    </a:cubicBezTo>
                    <a:cubicBezTo>
                      <a:pt x="269" y="64"/>
                      <a:pt x="269" y="64"/>
                      <a:pt x="269" y="64"/>
                    </a:cubicBezTo>
                    <a:cubicBezTo>
                      <a:pt x="253" y="59"/>
                      <a:pt x="253" y="59"/>
                      <a:pt x="253" y="59"/>
                    </a:cubicBezTo>
                    <a:cubicBezTo>
                      <a:pt x="252" y="63"/>
                      <a:pt x="252" y="63"/>
                      <a:pt x="252" y="63"/>
                    </a:cubicBezTo>
                    <a:cubicBezTo>
                      <a:pt x="247" y="65"/>
                      <a:pt x="247" y="65"/>
                      <a:pt x="247" y="65"/>
                    </a:cubicBezTo>
                    <a:cubicBezTo>
                      <a:pt x="247" y="65"/>
                      <a:pt x="245" y="59"/>
                      <a:pt x="243" y="58"/>
                    </a:cubicBezTo>
                    <a:cubicBezTo>
                      <a:pt x="242" y="57"/>
                      <a:pt x="239" y="53"/>
                      <a:pt x="239" y="53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39" y="43"/>
                      <a:pt x="239" y="43"/>
                      <a:pt x="239" y="43"/>
                    </a:cubicBezTo>
                    <a:cubicBezTo>
                      <a:pt x="227" y="48"/>
                      <a:pt x="227" y="48"/>
                      <a:pt x="227" y="48"/>
                    </a:cubicBezTo>
                    <a:cubicBezTo>
                      <a:pt x="227" y="48"/>
                      <a:pt x="223" y="43"/>
                      <a:pt x="217" y="41"/>
                    </a:cubicBezTo>
                    <a:cubicBezTo>
                      <a:pt x="211" y="39"/>
                      <a:pt x="204" y="37"/>
                      <a:pt x="204" y="37"/>
                    </a:cubicBezTo>
                    <a:cubicBezTo>
                      <a:pt x="205" y="43"/>
                      <a:pt x="205" y="43"/>
                      <a:pt x="205" y="43"/>
                    </a:cubicBezTo>
                    <a:cubicBezTo>
                      <a:pt x="205" y="43"/>
                      <a:pt x="209" y="46"/>
                      <a:pt x="211" y="46"/>
                    </a:cubicBezTo>
                    <a:cubicBezTo>
                      <a:pt x="213" y="46"/>
                      <a:pt x="211" y="52"/>
                      <a:pt x="211" y="52"/>
                    </a:cubicBezTo>
                    <a:cubicBezTo>
                      <a:pt x="207" y="51"/>
                      <a:pt x="207" y="51"/>
                      <a:pt x="207" y="51"/>
                    </a:cubicBezTo>
                    <a:cubicBezTo>
                      <a:pt x="207" y="51"/>
                      <a:pt x="201" y="54"/>
                      <a:pt x="201" y="56"/>
                    </a:cubicBezTo>
                    <a:cubicBezTo>
                      <a:pt x="200" y="58"/>
                      <a:pt x="194" y="60"/>
                      <a:pt x="191" y="58"/>
                    </a:cubicBezTo>
                    <a:cubicBezTo>
                      <a:pt x="188" y="56"/>
                      <a:pt x="189" y="48"/>
                      <a:pt x="187" y="45"/>
                    </a:cubicBezTo>
                    <a:cubicBezTo>
                      <a:pt x="186" y="42"/>
                      <a:pt x="177" y="43"/>
                      <a:pt x="175" y="41"/>
                    </a:cubicBezTo>
                    <a:cubicBezTo>
                      <a:pt x="173" y="38"/>
                      <a:pt x="186" y="30"/>
                      <a:pt x="186" y="30"/>
                    </a:cubicBezTo>
                    <a:cubicBezTo>
                      <a:pt x="179" y="25"/>
                      <a:pt x="179" y="25"/>
                      <a:pt x="179" y="25"/>
                    </a:cubicBezTo>
                    <a:cubicBezTo>
                      <a:pt x="166" y="31"/>
                      <a:pt x="166" y="31"/>
                      <a:pt x="166" y="31"/>
                    </a:cubicBezTo>
                    <a:cubicBezTo>
                      <a:pt x="165" y="25"/>
                      <a:pt x="165" y="25"/>
                      <a:pt x="165" y="25"/>
                    </a:cubicBezTo>
                    <a:cubicBezTo>
                      <a:pt x="143" y="17"/>
                      <a:pt x="143" y="17"/>
                      <a:pt x="143" y="17"/>
                    </a:cubicBezTo>
                    <a:cubicBezTo>
                      <a:pt x="143" y="22"/>
                      <a:pt x="143" y="22"/>
                      <a:pt x="143" y="22"/>
                    </a:cubicBezTo>
                    <a:cubicBezTo>
                      <a:pt x="135" y="14"/>
                      <a:pt x="135" y="14"/>
                      <a:pt x="135" y="14"/>
                    </a:cubicBezTo>
                    <a:cubicBezTo>
                      <a:pt x="137" y="7"/>
                      <a:pt x="137" y="7"/>
                      <a:pt x="137" y="7"/>
                    </a:cubicBezTo>
                    <a:cubicBezTo>
                      <a:pt x="123" y="5"/>
                      <a:pt x="123" y="5"/>
                      <a:pt x="123" y="5"/>
                    </a:cubicBezTo>
                    <a:cubicBezTo>
                      <a:pt x="121" y="8"/>
                      <a:pt x="121" y="8"/>
                      <a:pt x="121" y="8"/>
                    </a:cubicBezTo>
                    <a:cubicBezTo>
                      <a:pt x="123" y="11"/>
                      <a:pt x="123" y="11"/>
                      <a:pt x="123" y="11"/>
                    </a:cubicBezTo>
                    <a:cubicBezTo>
                      <a:pt x="121" y="13"/>
                      <a:pt x="121" y="13"/>
                      <a:pt x="121" y="13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3"/>
                      <a:pt x="112" y="16"/>
                      <a:pt x="110" y="14"/>
                    </a:cubicBezTo>
                    <a:cubicBezTo>
                      <a:pt x="107" y="12"/>
                      <a:pt x="101" y="14"/>
                      <a:pt x="106" y="8"/>
                    </a:cubicBezTo>
                    <a:cubicBezTo>
                      <a:pt x="105" y="9"/>
                      <a:pt x="102" y="9"/>
                      <a:pt x="101" y="9"/>
                    </a:cubicBezTo>
                    <a:cubicBezTo>
                      <a:pt x="107" y="1"/>
                      <a:pt x="94" y="2"/>
                      <a:pt x="91" y="0"/>
                    </a:cubicBezTo>
                    <a:cubicBezTo>
                      <a:pt x="90" y="1"/>
                      <a:pt x="89" y="4"/>
                      <a:pt x="89" y="5"/>
                    </a:cubicBezTo>
                    <a:cubicBezTo>
                      <a:pt x="90" y="5"/>
                      <a:pt x="95" y="7"/>
                      <a:pt x="95" y="8"/>
                    </a:cubicBezTo>
                    <a:cubicBezTo>
                      <a:pt x="95" y="12"/>
                      <a:pt x="92" y="10"/>
                      <a:pt x="89" y="12"/>
                    </a:cubicBezTo>
                    <a:cubicBezTo>
                      <a:pt x="84" y="14"/>
                      <a:pt x="80" y="18"/>
                      <a:pt x="77" y="18"/>
                    </a:cubicBezTo>
                    <a:cubicBezTo>
                      <a:pt x="74" y="18"/>
                      <a:pt x="66" y="22"/>
                      <a:pt x="64" y="23"/>
                    </a:cubicBezTo>
                    <a:cubicBezTo>
                      <a:pt x="60" y="25"/>
                      <a:pt x="58" y="35"/>
                      <a:pt x="53" y="30"/>
                    </a:cubicBezTo>
                    <a:cubicBezTo>
                      <a:pt x="53" y="30"/>
                      <a:pt x="50" y="32"/>
                      <a:pt x="47" y="37"/>
                    </a:cubicBezTo>
                    <a:cubicBezTo>
                      <a:pt x="45" y="39"/>
                      <a:pt x="43" y="40"/>
                      <a:pt x="41" y="39"/>
                    </a:cubicBezTo>
                    <a:cubicBezTo>
                      <a:pt x="40" y="48"/>
                      <a:pt x="33" y="42"/>
                      <a:pt x="30" y="44"/>
                    </a:cubicBezTo>
                    <a:cubicBezTo>
                      <a:pt x="29" y="44"/>
                      <a:pt x="25" y="46"/>
                      <a:pt x="25" y="46"/>
                    </a:cubicBezTo>
                    <a:cubicBezTo>
                      <a:pt x="19" y="43"/>
                      <a:pt x="18" y="48"/>
                      <a:pt x="16" y="49"/>
                    </a:cubicBezTo>
                    <a:cubicBezTo>
                      <a:pt x="14" y="52"/>
                      <a:pt x="11" y="61"/>
                      <a:pt x="10" y="62"/>
                    </a:cubicBezTo>
                    <a:cubicBezTo>
                      <a:pt x="9" y="62"/>
                      <a:pt x="3" y="54"/>
                      <a:pt x="2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57"/>
                      <a:pt x="4" y="63"/>
                      <a:pt x="7" y="67"/>
                    </a:cubicBezTo>
                    <a:cubicBezTo>
                      <a:pt x="9" y="70"/>
                      <a:pt x="18" y="72"/>
                      <a:pt x="16" y="76"/>
                    </a:cubicBezTo>
                    <a:cubicBezTo>
                      <a:pt x="17" y="76"/>
                      <a:pt x="18" y="77"/>
                      <a:pt x="19" y="77"/>
                    </a:cubicBezTo>
                    <a:cubicBezTo>
                      <a:pt x="19" y="79"/>
                      <a:pt x="18" y="84"/>
                      <a:pt x="17" y="84"/>
                    </a:cubicBezTo>
                    <a:cubicBezTo>
                      <a:pt x="14" y="88"/>
                      <a:pt x="14" y="88"/>
                      <a:pt x="14" y="88"/>
                    </a:cubicBezTo>
                    <a:cubicBezTo>
                      <a:pt x="14" y="92"/>
                      <a:pt x="18" y="92"/>
                      <a:pt x="19" y="93"/>
                    </a:cubicBezTo>
                    <a:cubicBezTo>
                      <a:pt x="21" y="96"/>
                      <a:pt x="21" y="100"/>
                      <a:pt x="23" y="103"/>
                    </a:cubicBezTo>
                    <a:cubicBezTo>
                      <a:pt x="24" y="106"/>
                      <a:pt x="29" y="115"/>
                      <a:pt x="33" y="116"/>
                    </a:cubicBezTo>
                    <a:cubicBezTo>
                      <a:pt x="40" y="117"/>
                      <a:pt x="49" y="130"/>
                      <a:pt x="50" y="130"/>
                    </a:cubicBezTo>
                    <a:cubicBezTo>
                      <a:pt x="53" y="130"/>
                      <a:pt x="59" y="131"/>
                      <a:pt x="59" y="135"/>
                    </a:cubicBezTo>
                    <a:cubicBezTo>
                      <a:pt x="60" y="143"/>
                      <a:pt x="66" y="136"/>
                      <a:pt x="69" y="141"/>
                    </a:cubicBezTo>
                    <a:cubicBezTo>
                      <a:pt x="72" y="146"/>
                      <a:pt x="76" y="149"/>
                      <a:pt x="77" y="154"/>
                    </a:cubicBezTo>
                    <a:cubicBezTo>
                      <a:pt x="81" y="153"/>
                      <a:pt x="81" y="153"/>
                      <a:pt x="81" y="153"/>
                    </a:cubicBezTo>
                    <a:cubicBezTo>
                      <a:pt x="81" y="153"/>
                      <a:pt x="83" y="155"/>
                      <a:pt x="85" y="155"/>
                    </a:cubicBezTo>
                    <a:cubicBezTo>
                      <a:pt x="86" y="156"/>
                      <a:pt x="89" y="161"/>
                      <a:pt x="89" y="161"/>
                    </a:cubicBezTo>
                    <a:cubicBezTo>
                      <a:pt x="88" y="163"/>
                      <a:pt x="88" y="163"/>
                      <a:pt x="88" y="163"/>
                    </a:cubicBezTo>
                    <a:cubicBezTo>
                      <a:pt x="91" y="165"/>
                      <a:pt x="91" y="165"/>
                      <a:pt x="91" y="165"/>
                    </a:cubicBezTo>
                    <a:cubicBezTo>
                      <a:pt x="101" y="167"/>
                      <a:pt x="101" y="167"/>
                      <a:pt x="101" y="167"/>
                    </a:cubicBezTo>
                    <a:cubicBezTo>
                      <a:pt x="106" y="161"/>
                      <a:pt x="106" y="161"/>
                      <a:pt x="106" y="161"/>
                    </a:cubicBezTo>
                    <a:cubicBezTo>
                      <a:pt x="109" y="162"/>
                      <a:pt x="109" y="162"/>
                      <a:pt x="109" y="162"/>
                    </a:cubicBezTo>
                    <a:cubicBezTo>
                      <a:pt x="112" y="162"/>
                      <a:pt x="112" y="162"/>
                      <a:pt x="112" y="162"/>
                    </a:cubicBezTo>
                    <a:cubicBezTo>
                      <a:pt x="112" y="162"/>
                      <a:pt x="116" y="164"/>
                      <a:pt x="118" y="164"/>
                    </a:cubicBezTo>
                    <a:cubicBezTo>
                      <a:pt x="119" y="164"/>
                      <a:pt x="116" y="158"/>
                      <a:pt x="116" y="156"/>
                    </a:cubicBezTo>
                    <a:cubicBezTo>
                      <a:pt x="117" y="154"/>
                      <a:pt x="121" y="150"/>
                      <a:pt x="121" y="150"/>
                    </a:cubicBezTo>
                    <a:cubicBezTo>
                      <a:pt x="128" y="153"/>
                      <a:pt x="128" y="153"/>
                      <a:pt x="128" y="153"/>
                    </a:cubicBezTo>
                    <a:cubicBezTo>
                      <a:pt x="129" y="136"/>
                      <a:pt x="129" y="136"/>
                      <a:pt x="129" y="136"/>
                    </a:cubicBezTo>
                    <a:cubicBezTo>
                      <a:pt x="135" y="136"/>
                      <a:pt x="135" y="136"/>
                      <a:pt x="135" y="136"/>
                    </a:cubicBezTo>
                    <a:cubicBezTo>
                      <a:pt x="135" y="136"/>
                      <a:pt x="137" y="138"/>
                      <a:pt x="140" y="138"/>
                    </a:cubicBezTo>
                    <a:cubicBezTo>
                      <a:pt x="142" y="137"/>
                      <a:pt x="143" y="136"/>
                      <a:pt x="143" y="136"/>
                    </a:cubicBezTo>
                    <a:cubicBezTo>
                      <a:pt x="143" y="136"/>
                      <a:pt x="150" y="138"/>
                      <a:pt x="151" y="138"/>
                    </a:cubicBezTo>
                    <a:cubicBezTo>
                      <a:pt x="152" y="138"/>
                      <a:pt x="161" y="143"/>
                      <a:pt x="161" y="143"/>
                    </a:cubicBezTo>
                    <a:cubicBezTo>
                      <a:pt x="161" y="143"/>
                      <a:pt x="163" y="142"/>
                      <a:pt x="167" y="142"/>
                    </a:cubicBezTo>
                    <a:cubicBezTo>
                      <a:pt x="172" y="142"/>
                      <a:pt x="177" y="150"/>
                      <a:pt x="177" y="150"/>
                    </a:cubicBezTo>
                    <a:cubicBezTo>
                      <a:pt x="191" y="149"/>
                      <a:pt x="191" y="149"/>
                      <a:pt x="191" y="149"/>
                    </a:cubicBezTo>
                    <a:cubicBezTo>
                      <a:pt x="193" y="144"/>
                      <a:pt x="193" y="144"/>
                      <a:pt x="193" y="144"/>
                    </a:cubicBezTo>
                    <a:cubicBezTo>
                      <a:pt x="204" y="147"/>
                      <a:pt x="204" y="147"/>
                      <a:pt x="204" y="147"/>
                    </a:cubicBezTo>
                    <a:cubicBezTo>
                      <a:pt x="206" y="150"/>
                      <a:pt x="206" y="150"/>
                      <a:pt x="206" y="150"/>
                    </a:cubicBezTo>
                    <a:cubicBezTo>
                      <a:pt x="213" y="150"/>
                      <a:pt x="213" y="150"/>
                      <a:pt x="213" y="150"/>
                    </a:cubicBezTo>
                    <a:cubicBezTo>
                      <a:pt x="216" y="152"/>
                      <a:pt x="216" y="152"/>
                      <a:pt x="216" y="152"/>
                    </a:cubicBezTo>
                    <a:cubicBezTo>
                      <a:pt x="217" y="149"/>
                      <a:pt x="222" y="141"/>
                      <a:pt x="226" y="139"/>
                    </a:cubicBezTo>
                    <a:cubicBezTo>
                      <a:pt x="230" y="137"/>
                      <a:pt x="242" y="141"/>
                      <a:pt x="242" y="141"/>
                    </a:cubicBezTo>
                    <a:cubicBezTo>
                      <a:pt x="255" y="133"/>
                      <a:pt x="255" y="133"/>
                      <a:pt x="255" y="133"/>
                    </a:cubicBezTo>
                    <a:cubicBezTo>
                      <a:pt x="255" y="133"/>
                      <a:pt x="253" y="130"/>
                      <a:pt x="256" y="126"/>
                    </a:cubicBezTo>
                    <a:cubicBezTo>
                      <a:pt x="259" y="123"/>
                      <a:pt x="261" y="127"/>
                      <a:pt x="263" y="123"/>
                    </a:cubicBezTo>
                    <a:cubicBezTo>
                      <a:pt x="266" y="119"/>
                      <a:pt x="264" y="111"/>
                      <a:pt x="266" y="107"/>
                    </a:cubicBezTo>
                    <a:cubicBezTo>
                      <a:pt x="270" y="104"/>
                      <a:pt x="272" y="106"/>
                      <a:pt x="276" y="103"/>
                    </a:cubicBezTo>
                    <a:cubicBezTo>
                      <a:pt x="280" y="100"/>
                      <a:pt x="281" y="92"/>
                      <a:pt x="281" y="92"/>
                    </a:cubicBezTo>
                    <a:cubicBezTo>
                      <a:pt x="288" y="93"/>
                      <a:pt x="288" y="93"/>
                      <a:pt x="288" y="93"/>
                    </a:cubicBezTo>
                    <a:cubicBezTo>
                      <a:pt x="295" y="90"/>
                      <a:pt x="295" y="90"/>
                      <a:pt x="295" y="90"/>
                    </a:cubicBezTo>
                    <a:lnTo>
                      <a:pt x="291" y="79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7" name="Sloweni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149725" y="4037496"/>
                <a:ext cx="410087" cy="286410"/>
              </a:xfrm>
              <a:custGeom>
                <a:avLst/>
                <a:gdLst/>
                <a:ahLst/>
                <a:cxnLst>
                  <a:cxn ang="0">
                    <a:pos x="119" y="13"/>
                  </a:cxn>
                  <a:cxn ang="0">
                    <a:pos x="108" y="13"/>
                  </a:cxn>
                  <a:cxn ang="0">
                    <a:pos x="96" y="20"/>
                  </a:cxn>
                  <a:cxn ang="0">
                    <a:pos x="83" y="20"/>
                  </a:cxn>
                  <a:cxn ang="0">
                    <a:pos x="68" y="22"/>
                  </a:cxn>
                  <a:cxn ang="0">
                    <a:pos x="59" y="30"/>
                  </a:cxn>
                  <a:cxn ang="0">
                    <a:pos x="46" y="34"/>
                  </a:cxn>
                  <a:cxn ang="0">
                    <a:pos x="33" y="33"/>
                  </a:cxn>
                  <a:cxn ang="0">
                    <a:pos x="18" y="31"/>
                  </a:cxn>
                  <a:cxn ang="0">
                    <a:pos x="15" y="36"/>
                  </a:cxn>
                  <a:cxn ang="0">
                    <a:pos x="0" y="45"/>
                  </a:cxn>
                  <a:cxn ang="0">
                    <a:pos x="14" y="53"/>
                  </a:cxn>
                  <a:cxn ang="0">
                    <a:pos x="5" y="68"/>
                  </a:cxn>
                  <a:cxn ang="0">
                    <a:pos x="11" y="78"/>
                  </a:cxn>
                  <a:cxn ang="0">
                    <a:pos x="18" y="91"/>
                  </a:cxn>
                  <a:cxn ang="0">
                    <a:pos x="7" y="99"/>
                  </a:cxn>
                  <a:cxn ang="0">
                    <a:pos x="19" y="98"/>
                  </a:cxn>
                  <a:cxn ang="0">
                    <a:pos x="32" y="97"/>
                  </a:cxn>
                  <a:cxn ang="0">
                    <a:pos x="52" y="93"/>
                  </a:cxn>
                  <a:cxn ang="0">
                    <a:pos x="55" y="88"/>
                  </a:cxn>
                  <a:cxn ang="0">
                    <a:pos x="58" y="88"/>
                  </a:cxn>
                  <a:cxn ang="0">
                    <a:pos x="72" y="97"/>
                  </a:cxn>
                  <a:cxn ang="0">
                    <a:pos x="80" y="96"/>
                  </a:cxn>
                  <a:cxn ang="0">
                    <a:pos x="94" y="94"/>
                  </a:cxn>
                  <a:cxn ang="0">
                    <a:pos x="95" y="83"/>
                  </a:cxn>
                  <a:cxn ang="0">
                    <a:pos x="85" y="80"/>
                  </a:cxn>
                  <a:cxn ang="0">
                    <a:pos x="107" y="71"/>
                  </a:cxn>
                  <a:cxn ang="0">
                    <a:pos x="102" y="50"/>
                  </a:cxn>
                  <a:cxn ang="0">
                    <a:pos x="124" y="31"/>
                  </a:cxn>
                  <a:cxn ang="0">
                    <a:pos x="132" y="23"/>
                  </a:cxn>
                  <a:cxn ang="0">
                    <a:pos x="145" y="20"/>
                  </a:cxn>
                  <a:cxn ang="0">
                    <a:pos x="137" y="11"/>
                  </a:cxn>
                  <a:cxn ang="0">
                    <a:pos x="133" y="3"/>
                  </a:cxn>
                  <a:cxn ang="0">
                    <a:pos x="121" y="3"/>
                  </a:cxn>
                </a:cxnLst>
                <a:rect l="0" t="0" r="r" b="b"/>
                <a:pathLst>
                  <a:path w="145" h="102">
                    <a:moveTo>
                      <a:pt x="117" y="6"/>
                    </a:moveTo>
                    <a:cubicBezTo>
                      <a:pt x="115" y="10"/>
                      <a:pt x="119" y="13"/>
                      <a:pt x="119" y="13"/>
                    </a:cubicBezTo>
                    <a:cubicBezTo>
                      <a:pt x="116" y="15"/>
                      <a:pt x="116" y="15"/>
                      <a:pt x="116" y="15"/>
                    </a:cubicBezTo>
                    <a:cubicBezTo>
                      <a:pt x="116" y="15"/>
                      <a:pt x="114" y="12"/>
                      <a:pt x="108" y="13"/>
                    </a:cubicBezTo>
                    <a:cubicBezTo>
                      <a:pt x="100" y="13"/>
                      <a:pt x="100" y="15"/>
                      <a:pt x="100" y="15"/>
                    </a:cubicBezTo>
                    <a:cubicBezTo>
                      <a:pt x="96" y="20"/>
                      <a:pt x="96" y="20"/>
                      <a:pt x="96" y="20"/>
                    </a:cubicBezTo>
                    <a:cubicBezTo>
                      <a:pt x="96" y="20"/>
                      <a:pt x="94" y="18"/>
                      <a:pt x="91" y="18"/>
                    </a:cubicBezTo>
                    <a:cubicBezTo>
                      <a:pt x="88" y="17"/>
                      <a:pt x="83" y="20"/>
                      <a:pt x="83" y="20"/>
                    </a:cubicBezTo>
                    <a:cubicBezTo>
                      <a:pt x="77" y="19"/>
                      <a:pt x="77" y="19"/>
                      <a:pt x="77" y="19"/>
                    </a:cubicBezTo>
                    <a:cubicBezTo>
                      <a:pt x="77" y="19"/>
                      <a:pt x="72" y="21"/>
                      <a:pt x="68" y="22"/>
                    </a:cubicBezTo>
                    <a:cubicBezTo>
                      <a:pt x="65" y="22"/>
                      <a:pt x="66" y="28"/>
                      <a:pt x="64" y="29"/>
                    </a:cubicBezTo>
                    <a:cubicBezTo>
                      <a:pt x="62" y="30"/>
                      <a:pt x="59" y="30"/>
                      <a:pt x="59" y="30"/>
                    </a:cubicBezTo>
                    <a:cubicBezTo>
                      <a:pt x="53" y="37"/>
                      <a:pt x="53" y="37"/>
                      <a:pt x="53" y="37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35" y="36"/>
                      <a:pt x="35" y="36"/>
                      <a:pt x="35" y="36"/>
                    </a:cubicBezTo>
                    <a:cubicBezTo>
                      <a:pt x="33" y="33"/>
                      <a:pt x="33" y="33"/>
                      <a:pt x="33" y="33"/>
                    </a:cubicBezTo>
                    <a:cubicBezTo>
                      <a:pt x="23" y="30"/>
                      <a:pt x="23" y="30"/>
                      <a:pt x="23" y="30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15" y="31"/>
                      <a:pt x="16" y="35"/>
                      <a:pt x="15" y="36"/>
                    </a:cubicBezTo>
                    <a:cubicBezTo>
                      <a:pt x="10" y="36"/>
                      <a:pt x="10" y="36"/>
                      <a:pt x="10" y="36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3" y="51"/>
                      <a:pt x="13" y="47"/>
                      <a:pt x="14" y="53"/>
                    </a:cubicBezTo>
                    <a:cubicBezTo>
                      <a:pt x="14" y="57"/>
                      <a:pt x="4" y="62"/>
                      <a:pt x="4" y="62"/>
                    </a:cubicBezTo>
                    <a:cubicBezTo>
                      <a:pt x="5" y="68"/>
                      <a:pt x="5" y="68"/>
                      <a:pt x="5" y="68"/>
                    </a:cubicBezTo>
                    <a:cubicBezTo>
                      <a:pt x="5" y="68"/>
                      <a:pt x="13" y="62"/>
                      <a:pt x="14" y="65"/>
                    </a:cubicBezTo>
                    <a:cubicBezTo>
                      <a:pt x="15" y="67"/>
                      <a:pt x="11" y="78"/>
                      <a:pt x="11" y="78"/>
                    </a:cubicBezTo>
                    <a:cubicBezTo>
                      <a:pt x="11" y="78"/>
                      <a:pt x="23" y="78"/>
                      <a:pt x="23" y="84"/>
                    </a:cubicBezTo>
                    <a:cubicBezTo>
                      <a:pt x="23" y="88"/>
                      <a:pt x="18" y="91"/>
                      <a:pt x="18" y="91"/>
                    </a:cubicBezTo>
                    <a:cubicBezTo>
                      <a:pt x="11" y="94"/>
                      <a:pt x="11" y="94"/>
                      <a:pt x="11" y="94"/>
                    </a:cubicBezTo>
                    <a:cubicBezTo>
                      <a:pt x="7" y="99"/>
                      <a:pt x="7" y="99"/>
                      <a:pt x="7" y="99"/>
                    </a:cubicBezTo>
                    <a:cubicBezTo>
                      <a:pt x="7" y="99"/>
                      <a:pt x="12" y="102"/>
                      <a:pt x="14" y="102"/>
                    </a:cubicBezTo>
                    <a:cubicBezTo>
                      <a:pt x="15" y="102"/>
                      <a:pt x="19" y="98"/>
                      <a:pt x="19" y="98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32" y="97"/>
                      <a:pt x="32" y="97"/>
                      <a:pt x="32" y="97"/>
                    </a:cubicBezTo>
                    <a:cubicBezTo>
                      <a:pt x="35" y="99"/>
                      <a:pt x="35" y="99"/>
                      <a:pt x="35" y="99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5" y="88"/>
                      <a:pt x="55" y="88"/>
                      <a:pt x="55" y="88"/>
                    </a:cubicBezTo>
                    <a:cubicBezTo>
                      <a:pt x="55" y="88"/>
                      <a:pt x="54" y="85"/>
                      <a:pt x="55" y="84"/>
                    </a:cubicBezTo>
                    <a:cubicBezTo>
                      <a:pt x="58" y="84"/>
                      <a:pt x="58" y="88"/>
                      <a:pt x="58" y="88"/>
                    </a:cubicBezTo>
                    <a:cubicBezTo>
                      <a:pt x="62" y="93"/>
                      <a:pt x="62" y="93"/>
                      <a:pt x="62" y="93"/>
                    </a:cubicBezTo>
                    <a:cubicBezTo>
                      <a:pt x="72" y="97"/>
                      <a:pt x="72" y="97"/>
                      <a:pt x="72" y="97"/>
                    </a:cubicBezTo>
                    <a:cubicBezTo>
                      <a:pt x="72" y="97"/>
                      <a:pt x="71" y="92"/>
                      <a:pt x="72" y="92"/>
                    </a:cubicBezTo>
                    <a:cubicBezTo>
                      <a:pt x="75" y="92"/>
                      <a:pt x="80" y="96"/>
                      <a:pt x="80" y="96"/>
                    </a:cubicBezTo>
                    <a:cubicBezTo>
                      <a:pt x="80" y="96"/>
                      <a:pt x="78" y="99"/>
                      <a:pt x="84" y="99"/>
                    </a:cubicBezTo>
                    <a:cubicBezTo>
                      <a:pt x="91" y="99"/>
                      <a:pt x="94" y="94"/>
                      <a:pt x="94" y="94"/>
                    </a:cubicBezTo>
                    <a:cubicBezTo>
                      <a:pt x="94" y="94"/>
                      <a:pt x="88" y="90"/>
                      <a:pt x="91" y="88"/>
                    </a:cubicBezTo>
                    <a:cubicBezTo>
                      <a:pt x="93" y="86"/>
                      <a:pt x="95" y="83"/>
                      <a:pt x="95" y="83"/>
                    </a:cubicBezTo>
                    <a:cubicBezTo>
                      <a:pt x="93" y="80"/>
                      <a:pt x="93" y="80"/>
                      <a:pt x="93" y="80"/>
                    </a:cubicBezTo>
                    <a:cubicBezTo>
                      <a:pt x="93" y="80"/>
                      <a:pt x="83" y="84"/>
                      <a:pt x="85" y="80"/>
                    </a:cubicBezTo>
                    <a:cubicBezTo>
                      <a:pt x="87" y="76"/>
                      <a:pt x="101" y="69"/>
                      <a:pt x="101" y="69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9" y="58"/>
                      <a:pt x="109" y="58"/>
                      <a:pt x="109" y="58"/>
                    </a:cubicBezTo>
                    <a:cubicBezTo>
                      <a:pt x="109" y="58"/>
                      <a:pt x="99" y="54"/>
                      <a:pt x="102" y="50"/>
                    </a:cubicBezTo>
                    <a:cubicBezTo>
                      <a:pt x="105" y="46"/>
                      <a:pt x="124" y="38"/>
                      <a:pt x="124" y="38"/>
                    </a:cubicBezTo>
                    <a:cubicBezTo>
                      <a:pt x="124" y="38"/>
                      <a:pt x="121" y="31"/>
                      <a:pt x="124" y="31"/>
                    </a:cubicBezTo>
                    <a:cubicBezTo>
                      <a:pt x="126" y="31"/>
                      <a:pt x="132" y="34"/>
                      <a:pt x="132" y="34"/>
                    </a:cubicBezTo>
                    <a:cubicBezTo>
                      <a:pt x="132" y="34"/>
                      <a:pt x="129" y="23"/>
                      <a:pt x="132" y="23"/>
                    </a:cubicBezTo>
                    <a:cubicBezTo>
                      <a:pt x="136" y="22"/>
                      <a:pt x="145" y="25"/>
                      <a:pt x="145" y="25"/>
                    </a:cubicBezTo>
                    <a:cubicBezTo>
                      <a:pt x="145" y="20"/>
                      <a:pt x="145" y="20"/>
                      <a:pt x="145" y="20"/>
                    </a:cubicBezTo>
                    <a:cubicBezTo>
                      <a:pt x="145" y="20"/>
                      <a:pt x="137" y="21"/>
                      <a:pt x="137" y="18"/>
                    </a:cubicBezTo>
                    <a:cubicBezTo>
                      <a:pt x="137" y="11"/>
                      <a:pt x="137" y="11"/>
                      <a:pt x="137" y="11"/>
                    </a:cubicBezTo>
                    <a:cubicBezTo>
                      <a:pt x="137" y="11"/>
                      <a:pt x="133" y="12"/>
                      <a:pt x="133" y="9"/>
                    </a:cubicBezTo>
                    <a:cubicBezTo>
                      <a:pt x="134" y="7"/>
                      <a:pt x="137" y="5"/>
                      <a:pt x="133" y="3"/>
                    </a:cubicBezTo>
                    <a:cubicBezTo>
                      <a:pt x="132" y="3"/>
                      <a:pt x="128" y="2"/>
                      <a:pt x="124" y="0"/>
                    </a:cubicBezTo>
                    <a:cubicBezTo>
                      <a:pt x="121" y="3"/>
                      <a:pt x="121" y="3"/>
                      <a:pt x="121" y="3"/>
                    </a:cubicBezTo>
                    <a:cubicBezTo>
                      <a:pt x="121" y="3"/>
                      <a:pt x="119" y="2"/>
                      <a:pt x="117" y="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8" name="Monaco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3337687" y="4623335"/>
                <a:ext cx="24411" cy="14646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4" y="5"/>
                  </a:cxn>
                  <a:cxn ang="0">
                    <a:pos x="6" y="5"/>
                  </a:cxn>
                  <a:cxn ang="0">
                    <a:pos x="9" y="3"/>
                  </a:cxn>
                  <a:cxn ang="0">
                    <a:pos x="4" y="1"/>
                  </a:cxn>
                </a:cxnLst>
                <a:rect l="0" t="0" r="r" b="b"/>
                <a:pathLst>
                  <a:path w="9" h="5">
                    <a:moveTo>
                      <a:pt x="4" y="1"/>
                    </a:moveTo>
                    <a:cubicBezTo>
                      <a:pt x="0" y="1"/>
                      <a:pt x="4" y="5"/>
                      <a:pt x="4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8" y="5"/>
                      <a:pt x="9" y="3"/>
                      <a:pt x="9" y="3"/>
                    </a:cubicBezTo>
                    <a:cubicBezTo>
                      <a:pt x="9" y="3"/>
                      <a:pt x="6" y="0"/>
                      <a:pt x="4" y="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9" name="Liechtenstei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3633861" y="3996812"/>
                <a:ext cx="24411" cy="29292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4" y="0"/>
                  </a:cxn>
                  <a:cxn ang="0">
                    <a:pos x="2" y="7"/>
                  </a:cxn>
                  <a:cxn ang="0">
                    <a:pos x="6" y="10"/>
                  </a:cxn>
                  <a:cxn ang="0">
                    <a:pos x="9" y="9"/>
                  </a:cxn>
                  <a:cxn ang="0">
                    <a:pos x="7" y="0"/>
                  </a:cxn>
                </a:cxnLst>
                <a:rect l="0" t="0" r="r" b="b"/>
                <a:pathLst>
                  <a:path w="9" h="10">
                    <a:moveTo>
                      <a:pt x="7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0" y="4"/>
                      <a:pt x="2" y="7"/>
                    </a:cubicBezTo>
                    <a:cubicBezTo>
                      <a:pt x="4" y="9"/>
                      <a:pt x="6" y="10"/>
                      <a:pt x="6" y="10"/>
                    </a:cubicBezTo>
                    <a:cubicBezTo>
                      <a:pt x="9" y="9"/>
                      <a:pt x="9" y="9"/>
                      <a:pt x="9" y="9"/>
                    </a:cubicBezTo>
                    <a:lnTo>
                      <a:pt x="7" y="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0" name="Österreich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3645252" y="3658328"/>
                <a:ext cx="968261" cy="483317"/>
              </a:xfrm>
              <a:custGeom>
                <a:avLst/>
                <a:gdLst/>
                <a:ahLst/>
                <a:cxnLst>
                  <a:cxn ang="0">
                    <a:pos x="335" y="43"/>
                  </a:cxn>
                  <a:cxn ang="0">
                    <a:pos x="332" y="17"/>
                  </a:cxn>
                  <a:cxn ang="0">
                    <a:pos x="320" y="11"/>
                  </a:cxn>
                  <a:cxn ang="0">
                    <a:pos x="293" y="14"/>
                  </a:cxn>
                  <a:cxn ang="0">
                    <a:pos x="267" y="2"/>
                  </a:cxn>
                  <a:cxn ang="0">
                    <a:pos x="251" y="0"/>
                  </a:cxn>
                  <a:cxn ang="0">
                    <a:pos x="237" y="14"/>
                  </a:cxn>
                  <a:cxn ang="0">
                    <a:pos x="228" y="26"/>
                  </a:cxn>
                  <a:cxn ang="0">
                    <a:pos x="217" y="31"/>
                  </a:cxn>
                  <a:cxn ang="0">
                    <a:pos x="205" y="25"/>
                  </a:cxn>
                  <a:cxn ang="0">
                    <a:pos x="193" y="18"/>
                  </a:cxn>
                  <a:cxn ang="0">
                    <a:pos x="177" y="31"/>
                  </a:cxn>
                  <a:cxn ang="0">
                    <a:pos x="149" y="60"/>
                  </a:cxn>
                  <a:cxn ang="0">
                    <a:pos x="156" y="88"/>
                  </a:cxn>
                  <a:cxn ang="0">
                    <a:pos x="150" y="98"/>
                  </a:cxn>
                  <a:cxn ang="0">
                    <a:pos x="126" y="91"/>
                  </a:cxn>
                  <a:cxn ang="0">
                    <a:pos x="110" y="95"/>
                  </a:cxn>
                  <a:cxn ang="0">
                    <a:pos x="90" y="107"/>
                  </a:cxn>
                  <a:cxn ang="0">
                    <a:pos x="69" y="110"/>
                  </a:cxn>
                  <a:cxn ang="0">
                    <a:pos x="51" y="99"/>
                  </a:cxn>
                  <a:cxn ang="0">
                    <a:pos x="34" y="117"/>
                  </a:cxn>
                  <a:cxn ang="0">
                    <a:pos x="27" y="104"/>
                  </a:cxn>
                  <a:cxn ang="0">
                    <a:pos x="10" y="99"/>
                  </a:cxn>
                  <a:cxn ang="0">
                    <a:pos x="3" y="120"/>
                  </a:cxn>
                  <a:cxn ang="0">
                    <a:pos x="18" y="133"/>
                  </a:cxn>
                  <a:cxn ang="0">
                    <a:pos x="32" y="144"/>
                  </a:cxn>
                  <a:cxn ang="0">
                    <a:pos x="45" y="146"/>
                  </a:cxn>
                  <a:cxn ang="0">
                    <a:pos x="57" y="149"/>
                  </a:cxn>
                  <a:cxn ang="0">
                    <a:pos x="76" y="138"/>
                  </a:cxn>
                  <a:cxn ang="0">
                    <a:pos x="104" y="139"/>
                  </a:cxn>
                  <a:cxn ang="0">
                    <a:pos x="125" y="128"/>
                  </a:cxn>
                  <a:cxn ang="0">
                    <a:pos x="127" y="142"/>
                  </a:cxn>
                  <a:cxn ang="0">
                    <a:pos x="134" y="156"/>
                  </a:cxn>
                  <a:cxn ang="0">
                    <a:pos x="169" y="160"/>
                  </a:cxn>
                  <a:cxn ang="0">
                    <a:pos x="197" y="165"/>
                  </a:cxn>
                  <a:cxn ang="0">
                    <a:pos x="214" y="170"/>
                  </a:cxn>
                  <a:cxn ang="0">
                    <a:pos x="238" y="164"/>
                  </a:cxn>
                  <a:cxn ang="0">
                    <a:pos x="256" y="153"/>
                  </a:cxn>
                  <a:cxn ang="0">
                    <a:pos x="275" y="154"/>
                  </a:cxn>
                  <a:cxn ang="0">
                    <a:pos x="295" y="149"/>
                  </a:cxn>
                  <a:cxn ang="0">
                    <a:pos x="300" y="137"/>
                  </a:cxn>
                  <a:cxn ang="0">
                    <a:pos x="320" y="118"/>
                  </a:cxn>
                  <a:cxn ang="0">
                    <a:pos x="313" y="104"/>
                  </a:cxn>
                  <a:cxn ang="0">
                    <a:pos x="317" y="86"/>
                  </a:cxn>
                  <a:cxn ang="0">
                    <a:pos x="328" y="82"/>
                  </a:cxn>
                  <a:cxn ang="0">
                    <a:pos x="339" y="69"/>
                  </a:cxn>
                </a:cxnLst>
                <a:rect l="0" t="0" r="r" b="b"/>
                <a:pathLst>
                  <a:path w="343" h="171">
                    <a:moveTo>
                      <a:pt x="342" y="57"/>
                    </a:moveTo>
                    <a:cubicBezTo>
                      <a:pt x="340" y="53"/>
                      <a:pt x="337" y="49"/>
                      <a:pt x="337" y="49"/>
                    </a:cubicBezTo>
                    <a:cubicBezTo>
                      <a:pt x="335" y="43"/>
                      <a:pt x="335" y="43"/>
                      <a:pt x="335" y="43"/>
                    </a:cubicBezTo>
                    <a:cubicBezTo>
                      <a:pt x="335" y="43"/>
                      <a:pt x="328" y="39"/>
                      <a:pt x="328" y="34"/>
                    </a:cubicBezTo>
                    <a:cubicBezTo>
                      <a:pt x="329" y="29"/>
                      <a:pt x="332" y="27"/>
                      <a:pt x="332" y="27"/>
                    </a:cubicBezTo>
                    <a:cubicBezTo>
                      <a:pt x="332" y="17"/>
                      <a:pt x="332" y="17"/>
                      <a:pt x="332" y="17"/>
                    </a:cubicBezTo>
                    <a:cubicBezTo>
                      <a:pt x="329" y="14"/>
                      <a:pt x="329" y="14"/>
                      <a:pt x="329" y="14"/>
                    </a:cubicBezTo>
                    <a:cubicBezTo>
                      <a:pt x="322" y="14"/>
                      <a:pt x="322" y="14"/>
                      <a:pt x="322" y="14"/>
                    </a:cubicBezTo>
                    <a:cubicBezTo>
                      <a:pt x="320" y="11"/>
                      <a:pt x="320" y="11"/>
                      <a:pt x="320" y="11"/>
                    </a:cubicBezTo>
                    <a:cubicBezTo>
                      <a:pt x="309" y="8"/>
                      <a:pt x="309" y="8"/>
                      <a:pt x="309" y="8"/>
                    </a:cubicBezTo>
                    <a:cubicBezTo>
                      <a:pt x="307" y="13"/>
                      <a:pt x="307" y="13"/>
                      <a:pt x="307" y="13"/>
                    </a:cubicBezTo>
                    <a:cubicBezTo>
                      <a:pt x="293" y="14"/>
                      <a:pt x="293" y="14"/>
                      <a:pt x="293" y="14"/>
                    </a:cubicBezTo>
                    <a:cubicBezTo>
                      <a:pt x="293" y="14"/>
                      <a:pt x="288" y="6"/>
                      <a:pt x="283" y="6"/>
                    </a:cubicBezTo>
                    <a:cubicBezTo>
                      <a:pt x="279" y="6"/>
                      <a:pt x="277" y="7"/>
                      <a:pt x="277" y="7"/>
                    </a:cubicBezTo>
                    <a:cubicBezTo>
                      <a:pt x="277" y="7"/>
                      <a:pt x="268" y="2"/>
                      <a:pt x="267" y="2"/>
                    </a:cubicBezTo>
                    <a:cubicBezTo>
                      <a:pt x="266" y="2"/>
                      <a:pt x="259" y="0"/>
                      <a:pt x="259" y="0"/>
                    </a:cubicBezTo>
                    <a:cubicBezTo>
                      <a:pt x="259" y="0"/>
                      <a:pt x="258" y="1"/>
                      <a:pt x="256" y="2"/>
                    </a:cubicBezTo>
                    <a:cubicBezTo>
                      <a:pt x="253" y="2"/>
                      <a:pt x="251" y="0"/>
                      <a:pt x="251" y="0"/>
                    </a:cubicBezTo>
                    <a:cubicBezTo>
                      <a:pt x="245" y="0"/>
                      <a:pt x="245" y="0"/>
                      <a:pt x="245" y="0"/>
                    </a:cubicBezTo>
                    <a:cubicBezTo>
                      <a:pt x="244" y="17"/>
                      <a:pt x="244" y="17"/>
                      <a:pt x="244" y="17"/>
                    </a:cubicBezTo>
                    <a:cubicBezTo>
                      <a:pt x="237" y="14"/>
                      <a:pt x="237" y="14"/>
                      <a:pt x="237" y="14"/>
                    </a:cubicBezTo>
                    <a:cubicBezTo>
                      <a:pt x="237" y="14"/>
                      <a:pt x="233" y="18"/>
                      <a:pt x="232" y="20"/>
                    </a:cubicBezTo>
                    <a:cubicBezTo>
                      <a:pt x="232" y="22"/>
                      <a:pt x="235" y="28"/>
                      <a:pt x="234" y="28"/>
                    </a:cubicBezTo>
                    <a:cubicBezTo>
                      <a:pt x="232" y="28"/>
                      <a:pt x="228" y="26"/>
                      <a:pt x="228" y="26"/>
                    </a:cubicBezTo>
                    <a:cubicBezTo>
                      <a:pt x="225" y="26"/>
                      <a:pt x="225" y="26"/>
                      <a:pt x="225" y="26"/>
                    </a:cubicBezTo>
                    <a:cubicBezTo>
                      <a:pt x="222" y="25"/>
                      <a:pt x="222" y="25"/>
                      <a:pt x="222" y="25"/>
                    </a:cubicBezTo>
                    <a:cubicBezTo>
                      <a:pt x="217" y="31"/>
                      <a:pt x="217" y="31"/>
                      <a:pt x="217" y="31"/>
                    </a:cubicBezTo>
                    <a:cubicBezTo>
                      <a:pt x="207" y="29"/>
                      <a:pt x="207" y="29"/>
                      <a:pt x="207" y="29"/>
                    </a:cubicBezTo>
                    <a:cubicBezTo>
                      <a:pt x="204" y="27"/>
                      <a:pt x="204" y="27"/>
                      <a:pt x="204" y="27"/>
                    </a:cubicBezTo>
                    <a:cubicBezTo>
                      <a:pt x="205" y="25"/>
                      <a:pt x="205" y="25"/>
                      <a:pt x="205" y="25"/>
                    </a:cubicBezTo>
                    <a:cubicBezTo>
                      <a:pt x="205" y="25"/>
                      <a:pt x="202" y="20"/>
                      <a:pt x="201" y="19"/>
                    </a:cubicBezTo>
                    <a:cubicBezTo>
                      <a:pt x="199" y="19"/>
                      <a:pt x="197" y="17"/>
                      <a:pt x="197" y="17"/>
                    </a:cubicBezTo>
                    <a:cubicBezTo>
                      <a:pt x="193" y="18"/>
                      <a:pt x="193" y="18"/>
                      <a:pt x="193" y="18"/>
                    </a:cubicBezTo>
                    <a:cubicBezTo>
                      <a:pt x="193" y="19"/>
                      <a:pt x="194" y="19"/>
                      <a:pt x="194" y="20"/>
                    </a:cubicBezTo>
                    <a:cubicBezTo>
                      <a:pt x="194" y="25"/>
                      <a:pt x="192" y="30"/>
                      <a:pt x="190" y="33"/>
                    </a:cubicBezTo>
                    <a:cubicBezTo>
                      <a:pt x="184" y="29"/>
                      <a:pt x="181" y="29"/>
                      <a:pt x="177" y="31"/>
                    </a:cubicBezTo>
                    <a:cubicBezTo>
                      <a:pt x="179" y="35"/>
                      <a:pt x="176" y="48"/>
                      <a:pt x="169" y="48"/>
                    </a:cubicBezTo>
                    <a:cubicBezTo>
                      <a:pt x="166" y="48"/>
                      <a:pt x="163" y="49"/>
                      <a:pt x="160" y="50"/>
                    </a:cubicBezTo>
                    <a:cubicBezTo>
                      <a:pt x="158" y="51"/>
                      <a:pt x="153" y="59"/>
                      <a:pt x="149" y="60"/>
                    </a:cubicBezTo>
                    <a:cubicBezTo>
                      <a:pt x="145" y="62"/>
                      <a:pt x="151" y="65"/>
                      <a:pt x="152" y="67"/>
                    </a:cubicBezTo>
                    <a:cubicBezTo>
                      <a:pt x="153" y="70"/>
                      <a:pt x="156" y="70"/>
                      <a:pt x="158" y="74"/>
                    </a:cubicBezTo>
                    <a:cubicBezTo>
                      <a:pt x="162" y="80"/>
                      <a:pt x="157" y="81"/>
                      <a:pt x="156" y="88"/>
                    </a:cubicBezTo>
                    <a:cubicBezTo>
                      <a:pt x="161" y="86"/>
                      <a:pt x="162" y="88"/>
                      <a:pt x="164" y="91"/>
                    </a:cubicBezTo>
                    <a:cubicBezTo>
                      <a:pt x="164" y="92"/>
                      <a:pt x="163" y="100"/>
                      <a:pt x="162" y="102"/>
                    </a:cubicBezTo>
                    <a:cubicBezTo>
                      <a:pt x="160" y="104"/>
                      <a:pt x="151" y="100"/>
                      <a:pt x="150" y="98"/>
                    </a:cubicBezTo>
                    <a:cubicBezTo>
                      <a:pt x="149" y="97"/>
                      <a:pt x="150" y="91"/>
                      <a:pt x="151" y="90"/>
                    </a:cubicBezTo>
                    <a:cubicBezTo>
                      <a:pt x="144" y="86"/>
                      <a:pt x="143" y="97"/>
                      <a:pt x="139" y="94"/>
                    </a:cubicBezTo>
                    <a:cubicBezTo>
                      <a:pt x="134" y="91"/>
                      <a:pt x="131" y="89"/>
                      <a:pt x="126" y="91"/>
                    </a:cubicBezTo>
                    <a:cubicBezTo>
                      <a:pt x="126" y="85"/>
                      <a:pt x="126" y="85"/>
                      <a:pt x="126" y="85"/>
                    </a:cubicBezTo>
                    <a:cubicBezTo>
                      <a:pt x="119" y="90"/>
                      <a:pt x="127" y="92"/>
                      <a:pt x="124" y="95"/>
                    </a:cubicBezTo>
                    <a:cubicBezTo>
                      <a:pt x="123" y="96"/>
                      <a:pt x="112" y="95"/>
                      <a:pt x="110" y="95"/>
                    </a:cubicBezTo>
                    <a:cubicBezTo>
                      <a:pt x="107" y="96"/>
                      <a:pt x="102" y="96"/>
                      <a:pt x="98" y="97"/>
                    </a:cubicBezTo>
                    <a:cubicBezTo>
                      <a:pt x="96" y="98"/>
                      <a:pt x="90" y="102"/>
                      <a:pt x="88" y="105"/>
                    </a:cubicBezTo>
                    <a:cubicBezTo>
                      <a:pt x="88" y="105"/>
                      <a:pt x="90" y="106"/>
                      <a:pt x="90" y="107"/>
                    </a:cubicBezTo>
                    <a:cubicBezTo>
                      <a:pt x="85" y="105"/>
                      <a:pt x="84" y="109"/>
                      <a:pt x="80" y="110"/>
                    </a:cubicBezTo>
                    <a:cubicBezTo>
                      <a:pt x="81" y="107"/>
                      <a:pt x="81" y="107"/>
                      <a:pt x="81" y="107"/>
                    </a:cubicBezTo>
                    <a:cubicBezTo>
                      <a:pt x="78" y="109"/>
                      <a:pt x="74" y="110"/>
                      <a:pt x="69" y="110"/>
                    </a:cubicBezTo>
                    <a:cubicBezTo>
                      <a:pt x="69" y="107"/>
                      <a:pt x="67" y="105"/>
                      <a:pt x="65" y="104"/>
                    </a:cubicBezTo>
                    <a:cubicBezTo>
                      <a:pt x="66" y="102"/>
                      <a:pt x="67" y="101"/>
                      <a:pt x="65" y="100"/>
                    </a:cubicBezTo>
                    <a:cubicBezTo>
                      <a:pt x="66" y="100"/>
                      <a:pt x="53" y="97"/>
                      <a:pt x="51" y="99"/>
                    </a:cubicBezTo>
                    <a:cubicBezTo>
                      <a:pt x="49" y="104"/>
                      <a:pt x="47" y="97"/>
                      <a:pt x="48" y="97"/>
                    </a:cubicBezTo>
                    <a:cubicBezTo>
                      <a:pt x="44" y="99"/>
                      <a:pt x="48" y="102"/>
                      <a:pt x="48" y="107"/>
                    </a:cubicBezTo>
                    <a:cubicBezTo>
                      <a:pt x="47" y="112"/>
                      <a:pt x="38" y="116"/>
                      <a:pt x="34" y="117"/>
                    </a:cubicBezTo>
                    <a:cubicBezTo>
                      <a:pt x="34" y="116"/>
                      <a:pt x="38" y="111"/>
                      <a:pt x="35" y="110"/>
                    </a:cubicBezTo>
                    <a:cubicBezTo>
                      <a:pt x="34" y="109"/>
                      <a:pt x="31" y="111"/>
                      <a:pt x="31" y="112"/>
                    </a:cubicBezTo>
                    <a:cubicBezTo>
                      <a:pt x="29" y="107"/>
                      <a:pt x="30" y="107"/>
                      <a:pt x="27" y="104"/>
                    </a:cubicBezTo>
                    <a:cubicBezTo>
                      <a:pt x="24" y="101"/>
                      <a:pt x="19" y="97"/>
                      <a:pt x="18" y="97"/>
                    </a:cubicBezTo>
                    <a:cubicBezTo>
                      <a:pt x="14" y="95"/>
                      <a:pt x="16" y="100"/>
                      <a:pt x="12" y="100"/>
                    </a:cubicBezTo>
                    <a:cubicBezTo>
                      <a:pt x="11" y="100"/>
                      <a:pt x="11" y="100"/>
                      <a:pt x="10" y="99"/>
                    </a:cubicBezTo>
                    <a:cubicBezTo>
                      <a:pt x="10" y="107"/>
                      <a:pt x="10" y="107"/>
                      <a:pt x="10" y="107"/>
                    </a:cubicBezTo>
                    <a:cubicBezTo>
                      <a:pt x="10" y="110"/>
                      <a:pt x="0" y="120"/>
                      <a:pt x="0" y="120"/>
                    </a:cubicBezTo>
                    <a:cubicBezTo>
                      <a:pt x="3" y="120"/>
                      <a:pt x="3" y="120"/>
                      <a:pt x="3" y="120"/>
                    </a:cubicBezTo>
                    <a:cubicBezTo>
                      <a:pt x="5" y="129"/>
                      <a:pt x="5" y="129"/>
                      <a:pt x="5" y="129"/>
                    </a:cubicBezTo>
                    <a:cubicBezTo>
                      <a:pt x="2" y="130"/>
                      <a:pt x="2" y="130"/>
                      <a:pt x="2" y="130"/>
                    </a:cubicBezTo>
                    <a:cubicBezTo>
                      <a:pt x="18" y="133"/>
                      <a:pt x="18" y="133"/>
                      <a:pt x="18" y="133"/>
                    </a:cubicBezTo>
                    <a:cubicBezTo>
                      <a:pt x="18" y="133"/>
                      <a:pt x="16" y="139"/>
                      <a:pt x="17" y="140"/>
                    </a:cubicBezTo>
                    <a:cubicBezTo>
                      <a:pt x="18" y="142"/>
                      <a:pt x="22" y="141"/>
                      <a:pt x="22" y="141"/>
                    </a:cubicBezTo>
                    <a:cubicBezTo>
                      <a:pt x="22" y="141"/>
                      <a:pt x="29" y="146"/>
                      <a:pt x="32" y="144"/>
                    </a:cubicBezTo>
                    <a:cubicBezTo>
                      <a:pt x="35" y="143"/>
                      <a:pt x="41" y="136"/>
                      <a:pt x="41" y="136"/>
                    </a:cubicBezTo>
                    <a:cubicBezTo>
                      <a:pt x="46" y="140"/>
                      <a:pt x="46" y="140"/>
                      <a:pt x="46" y="140"/>
                    </a:cubicBezTo>
                    <a:cubicBezTo>
                      <a:pt x="45" y="146"/>
                      <a:pt x="45" y="146"/>
                      <a:pt x="45" y="146"/>
                    </a:cubicBezTo>
                    <a:cubicBezTo>
                      <a:pt x="48" y="146"/>
                      <a:pt x="48" y="146"/>
                      <a:pt x="48" y="146"/>
                    </a:cubicBezTo>
                    <a:cubicBezTo>
                      <a:pt x="48" y="146"/>
                      <a:pt x="50" y="142"/>
                      <a:pt x="53" y="143"/>
                    </a:cubicBezTo>
                    <a:cubicBezTo>
                      <a:pt x="57" y="145"/>
                      <a:pt x="57" y="149"/>
                      <a:pt x="57" y="149"/>
                    </a:cubicBezTo>
                    <a:cubicBezTo>
                      <a:pt x="69" y="152"/>
                      <a:pt x="69" y="152"/>
                      <a:pt x="69" y="152"/>
                    </a:cubicBezTo>
                    <a:cubicBezTo>
                      <a:pt x="73" y="147"/>
                      <a:pt x="73" y="147"/>
                      <a:pt x="73" y="147"/>
                    </a:cubicBezTo>
                    <a:cubicBezTo>
                      <a:pt x="73" y="147"/>
                      <a:pt x="67" y="139"/>
                      <a:pt x="76" y="138"/>
                    </a:cubicBezTo>
                    <a:cubicBezTo>
                      <a:pt x="85" y="137"/>
                      <a:pt x="87" y="138"/>
                      <a:pt x="87" y="138"/>
                    </a:cubicBezTo>
                    <a:cubicBezTo>
                      <a:pt x="90" y="133"/>
                      <a:pt x="90" y="133"/>
                      <a:pt x="90" y="133"/>
                    </a:cubicBezTo>
                    <a:cubicBezTo>
                      <a:pt x="104" y="139"/>
                      <a:pt x="104" y="139"/>
                      <a:pt x="104" y="139"/>
                    </a:cubicBezTo>
                    <a:cubicBezTo>
                      <a:pt x="113" y="130"/>
                      <a:pt x="113" y="130"/>
                      <a:pt x="113" y="130"/>
                    </a:cubicBezTo>
                    <a:cubicBezTo>
                      <a:pt x="117" y="132"/>
                      <a:pt x="117" y="132"/>
                      <a:pt x="117" y="132"/>
                    </a:cubicBezTo>
                    <a:cubicBezTo>
                      <a:pt x="117" y="132"/>
                      <a:pt x="123" y="126"/>
                      <a:pt x="125" y="128"/>
                    </a:cubicBezTo>
                    <a:cubicBezTo>
                      <a:pt x="127" y="130"/>
                      <a:pt x="120" y="134"/>
                      <a:pt x="120" y="134"/>
                    </a:cubicBezTo>
                    <a:cubicBezTo>
                      <a:pt x="123" y="143"/>
                      <a:pt x="123" y="143"/>
                      <a:pt x="123" y="143"/>
                    </a:cubicBezTo>
                    <a:cubicBezTo>
                      <a:pt x="123" y="143"/>
                      <a:pt x="125" y="141"/>
                      <a:pt x="127" y="142"/>
                    </a:cubicBezTo>
                    <a:cubicBezTo>
                      <a:pt x="129" y="143"/>
                      <a:pt x="128" y="147"/>
                      <a:pt x="128" y="147"/>
                    </a:cubicBezTo>
                    <a:cubicBezTo>
                      <a:pt x="131" y="148"/>
                      <a:pt x="131" y="148"/>
                      <a:pt x="131" y="148"/>
                    </a:cubicBezTo>
                    <a:cubicBezTo>
                      <a:pt x="134" y="156"/>
                      <a:pt x="134" y="156"/>
                      <a:pt x="134" y="156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3" y="160"/>
                      <a:pt x="153" y="160"/>
                      <a:pt x="153" y="160"/>
                    </a:cubicBezTo>
                    <a:cubicBezTo>
                      <a:pt x="169" y="160"/>
                      <a:pt x="169" y="160"/>
                      <a:pt x="169" y="160"/>
                    </a:cubicBezTo>
                    <a:cubicBezTo>
                      <a:pt x="172" y="163"/>
                      <a:pt x="172" y="163"/>
                      <a:pt x="172" y="163"/>
                    </a:cubicBezTo>
                    <a:cubicBezTo>
                      <a:pt x="178" y="161"/>
                      <a:pt x="178" y="161"/>
                      <a:pt x="178" y="161"/>
                    </a:cubicBezTo>
                    <a:cubicBezTo>
                      <a:pt x="197" y="165"/>
                      <a:pt x="197" y="165"/>
                      <a:pt x="197" y="165"/>
                    </a:cubicBezTo>
                    <a:cubicBezTo>
                      <a:pt x="202" y="164"/>
                      <a:pt x="202" y="164"/>
                      <a:pt x="202" y="164"/>
                    </a:cubicBezTo>
                    <a:cubicBezTo>
                      <a:pt x="212" y="167"/>
                      <a:pt x="212" y="167"/>
                      <a:pt x="212" y="167"/>
                    </a:cubicBezTo>
                    <a:cubicBezTo>
                      <a:pt x="214" y="170"/>
                      <a:pt x="214" y="170"/>
                      <a:pt x="214" y="170"/>
                    </a:cubicBezTo>
                    <a:cubicBezTo>
                      <a:pt x="225" y="168"/>
                      <a:pt x="225" y="168"/>
                      <a:pt x="225" y="168"/>
                    </a:cubicBezTo>
                    <a:cubicBezTo>
                      <a:pt x="232" y="171"/>
                      <a:pt x="232" y="171"/>
                      <a:pt x="232" y="171"/>
                    </a:cubicBezTo>
                    <a:cubicBezTo>
                      <a:pt x="238" y="164"/>
                      <a:pt x="238" y="164"/>
                      <a:pt x="238" y="164"/>
                    </a:cubicBezTo>
                    <a:cubicBezTo>
                      <a:pt x="238" y="164"/>
                      <a:pt x="241" y="164"/>
                      <a:pt x="243" y="163"/>
                    </a:cubicBezTo>
                    <a:cubicBezTo>
                      <a:pt x="245" y="162"/>
                      <a:pt x="244" y="156"/>
                      <a:pt x="247" y="156"/>
                    </a:cubicBezTo>
                    <a:cubicBezTo>
                      <a:pt x="251" y="155"/>
                      <a:pt x="256" y="153"/>
                      <a:pt x="256" y="153"/>
                    </a:cubicBezTo>
                    <a:cubicBezTo>
                      <a:pt x="262" y="154"/>
                      <a:pt x="262" y="154"/>
                      <a:pt x="262" y="154"/>
                    </a:cubicBezTo>
                    <a:cubicBezTo>
                      <a:pt x="262" y="154"/>
                      <a:pt x="267" y="151"/>
                      <a:pt x="270" y="152"/>
                    </a:cubicBezTo>
                    <a:cubicBezTo>
                      <a:pt x="273" y="152"/>
                      <a:pt x="275" y="154"/>
                      <a:pt x="275" y="154"/>
                    </a:cubicBezTo>
                    <a:cubicBezTo>
                      <a:pt x="279" y="149"/>
                      <a:pt x="279" y="149"/>
                      <a:pt x="279" y="149"/>
                    </a:cubicBezTo>
                    <a:cubicBezTo>
                      <a:pt x="279" y="149"/>
                      <a:pt x="279" y="147"/>
                      <a:pt x="287" y="147"/>
                    </a:cubicBezTo>
                    <a:cubicBezTo>
                      <a:pt x="293" y="146"/>
                      <a:pt x="295" y="149"/>
                      <a:pt x="295" y="149"/>
                    </a:cubicBezTo>
                    <a:cubicBezTo>
                      <a:pt x="298" y="147"/>
                      <a:pt x="298" y="147"/>
                      <a:pt x="298" y="147"/>
                    </a:cubicBezTo>
                    <a:cubicBezTo>
                      <a:pt x="298" y="147"/>
                      <a:pt x="294" y="144"/>
                      <a:pt x="296" y="140"/>
                    </a:cubicBezTo>
                    <a:cubicBezTo>
                      <a:pt x="298" y="136"/>
                      <a:pt x="300" y="137"/>
                      <a:pt x="300" y="137"/>
                    </a:cubicBezTo>
                    <a:cubicBezTo>
                      <a:pt x="309" y="128"/>
                      <a:pt x="309" y="128"/>
                      <a:pt x="309" y="128"/>
                    </a:cubicBezTo>
                    <a:cubicBezTo>
                      <a:pt x="319" y="127"/>
                      <a:pt x="319" y="127"/>
                      <a:pt x="319" y="127"/>
                    </a:cubicBezTo>
                    <a:cubicBezTo>
                      <a:pt x="320" y="118"/>
                      <a:pt x="320" y="118"/>
                      <a:pt x="320" y="118"/>
                    </a:cubicBezTo>
                    <a:cubicBezTo>
                      <a:pt x="320" y="118"/>
                      <a:pt x="315" y="117"/>
                      <a:pt x="315" y="115"/>
                    </a:cubicBezTo>
                    <a:cubicBezTo>
                      <a:pt x="314" y="112"/>
                      <a:pt x="317" y="110"/>
                      <a:pt x="317" y="109"/>
                    </a:cubicBezTo>
                    <a:cubicBezTo>
                      <a:pt x="317" y="107"/>
                      <a:pt x="313" y="107"/>
                      <a:pt x="313" y="104"/>
                    </a:cubicBezTo>
                    <a:cubicBezTo>
                      <a:pt x="314" y="101"/>
                      <a:pt x="328" y="98"/>
                      <a:pt x="326" y="92"/>
                    </a:cubicBezTo>
                    <a:cubicBezTo>
                      <a:pt x="324" y="85"/>
                      <a:pt x="322" y="85"/>
                      <a:pt x="322" y="85"/>
                    </a:cubicBezTo>
                    <a:cubicBezTo>
                      <a:pt x="317" y="86"/>
                      <a:pt x="317" y="86"/>
                      <a:pt x="317" y="86"/>
                    </a:cubicBezTo>
                    <a:cubicBezTo>
                      <a:pt x="317" y="86"/>
                      <a:pt x="312" y="88"/>
                      <a:pt x="314" y="83"/>
                    </a:cubicBezTo>
                    <a:cubicBezTo>
                      <a:pt x="315" y="79"/>
                      <a:pt x="320" y="78"/>
                      <a:pt x="322" y="77"/>
                    </a:cubicBezTo>
                    <a:cubicBezTo>
                      <a:pt x="324" y="77"/>
                      <a:pt x="328" y="82"/>
                      <a:pt x="328" y="82"/>
                    </a:cubicBezTo>
                    <a:cubicBezTo>
                      <a:pt x="341" y="78"/>
                      <a:pt x="341" y="78"/>
                      <a:pt x="341" y="78"/>
                    </a:cubicBezTo>
                    <a:cubicBezTo>
                      <a:pt x="341" y="70"/>
                      <a:pt x="341" y="70"/>
                      <a:pt x="341" y="70"/>
                    </a:cubicBezTo>
                    <a:cubicBezTo>
                      <a:pt x="339" y="69"/>
                      <a:pt x="339" y="69"/>
                      <a:pt x="339" y="69"/>
                    </a:cubicBezTo>
                    <a:cubicBezTo>
                      <a:pt x="342" y="67"/>
                      <a:pt x="342" y="67"/>
                      <a:pt x="342" y="67"/>
                    </a:cubicBezTo>
                    <a:cubicBezTo>
                      <a:pt x="342" y="67"/>
                      <a:pt x="343" y="60"/>
                      <a:pt x="342" y="5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1" name="Serbi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452408" y="4327162"/>
                <a:ext cx="559801" cy="480062"/>
              </a:xfrm>
              <a:custGeom>
                <a:avLst/>
                <a:gdLst/>
                <a:ahLst/>
                <a:cxnLst>
                  <a:cxn ang="0">
                    <a:pos x="195" y="66"/>
                  </a:cxn>
                  <a:cxn ang="0">
                    <a:pos x="180" y="54"/>
                  </a:cxn>
                  <a:cxn ang="0">
                    <a:pos x="168" y="53"/>
                  </a:cxn>
                  <a:cxn ang="0">
                    <a:pos x="169" y="45"/>
                  </a:cxn>
                  <a:cxn ang="0">
                    <a:pos x="168" y="41"/>
                  </a:cxn>
                  <a:cxn ang="0">
                    <a:pos x="174" y="31"/>
                  </a:cxn>
                  <a:cxn ang="0">
                    <a:pos x="177" y="18"/>
                  </a:cxn>
                  <a:cxn ang="0">
                    <a:pos x="180" y="15"/>
                  </a:cxn>
                  <a:cxn ang="0">
                    <a:pos x="165" y="13"/>
                  </a:cxn>
                  <a:cxn ang="0">
                    <a:pos x="154" y="18"/>
                  </a:cxn>
                  <a:cxn ang="0">
                    <a:pos x="145" y="6"/>
                  </a:cxn>
                  <a:cxn ang="0">
                    <a:pos x="137" y="9"/>
                  </a:cxn>
                  <a:cxn ang="0">
                    <a:pos x="131" y="4"/>
                  </a:cxn>
                  <a:cxn ang="0">
                    <a:pos x="123" y="3"/>
                  </a:cxn>
                  <a:cxn ang="0">
                    <a:pos x="120" y="9"/>
                  </a:cxn>
                  <a:cxn ang="0">
                    <a:pos x="112" y="3"/>
                  </a:cxn>
                  <a:cxn ang="0">
                    <a:pos x="104" y="11"/>
                  </a:cxn>
                  <a:cxn ang="0">
                    <a:pos x="96" y="7"/>
                  </a:cxn>
                  <a:cxn ang="0">
                    <a:pos x="74" y="7"/>
                  </a:cxn>
                  <a:cxn ang="0">
                    <a:pos x="62" y="0"/>
                  </a:cxn>
                  <a:cxn ang="0">
                    <a:pos x="57" y="6"/>
                  </a:cxn>
                  <a:cxn ang="0">
                    <a:pos x="42" y="4"/>
                  </a:cxn>
                  <a:cxn ang="0">
                    <a:pos x="34" y="19"/>
                  </a:cxn>
                  <a:cxn ang="0">
                    <a:pos x="21" y="12"/>
                  </a:cxn>
                  <a:cxn ang="0">
                    <a:pos x="7" y="9"/>
                  </a:cxn>
                  <a:cxn ang="0">
                    <a:pos x="8" y="36"/>
                  </a:cxn>
                  <a:cxn ang="0">
                    <a:pos x="18" y="37"/>
                  </a:cxn>
                  <a:cxn ang="0">
                    <a:pos x="23" y="44"/>
                  </a:cxn>
                  <a:cxn ang="0">
                    <a:pos x="21" y="48"/>
                  </a:cxn>
                  <a:cxn ang="0">
                    <a:pos x="29" y="58"/>
                  </a:cxn>
                  <a:cxn ang="0">
                    <a:pos x="38" y="76"/>
                  </a:cxn>
                  <a:cxn ang="0">
                    <a:pos x="57" y="92"/>
                  </a:cxn>
                  <a:cxn ang="0">
                    <a:pos x="59" y="95"/>
                  </a:cxn>
                  <a:cxn ang="0">
                    <a:pos x="76" y="110"/>
                  </a:cxn>
                  <a:cxn ang="0">
                    <a:pos x="88" y="116"/>
                  </a:cxn>
                  <a:cxn ang="0">
                    <a:pos x="88" y="125"/>
                  </a:cxn>
                  <a:cxn ang="0">
                    <a:pos x="108" y="140"/>
                  </a:cxn>
                  <a:cxn ang="0">
                    <a:pos x="110" y="151"/>
                  </a:cxn>
                  <a:cxn ang="0">
                    <a:pos x="118" y="149"/>
                  </a:cxn>
                  <a:cxn ang="0">
                    <a:pos x="140" y="168"/>
                  </a:cxn>
                  <a:cxn ang="0">
                    <a:pos x="146" y="167"/>
                  </a:cxn>
                  <a:cxn ang="0">
                    <a:pos x="149" y="170"/>
                  </a:cxn>
                  <a:cxn ang="0">
                    <a:pos x="154" y="167"/>
                  </a:cxn>
                  <a:cxn ang="0">
                    <a:pos x="154" y="157"/>
                  </a:cxn>
                  <a:cxn ang="0">
                    <a:pos x="151" y="157"/>
                  </a:cxn>
                  <a:cxn ang="0">
                    <a:pos x="150" y="141"/>
                  </a:cxn>
                  <a:cxn ang="0">
                    <a:pos x="157" y="137"/>
                  </a:cxn>
                  <a:cxn ang="0">
                    <a:pos x="156" y="123"/>
                  </a:cxn>
                  <a:cxn ang="0">
                    <a:pos x="165" y="117"/>
                  </a:cxn>
                  <a:cxn ang="0">
                    <a:pos x="175" y="119"/>
                  </a:cxn>
                  <a:cxn ang="0">
                    <a:pos x="166" y="107"/>
                  </a:cxn>
                  <a:cxn ang="0">
                    <a:pos x="167" y="101"/>
                  </a:cxn>
                  <a:cxn ang="0">
                    <a:pos x="172" y="105"/>
                  </a:cxn>
                  <a:cxn ang="0">
                    <a:pos x="180" y="105"/>
                  </a:cxn>
                  <a:cxn ang="0">
                    <a:pos x="181" y="99"/>
                  </a:cxn>
                  <a:cxn ang="0">
                    <a:pos x="191" y="99"/>
                  </a:cxn>
                  <a:cxn ang="0">
                    <a:pos x="185" y="84"/>
                  </a:cxn>
                  <a:cxn ang="0">
                    <a:pos x="177" y="73"/>
                  </a:cxn>
                  <a:cxn ang="0">
                    <a:pos x="190" y="74"/>
                  </a:cxn>
                  <a:cxn ang="0">
                    <a:pos x="195" y="66"/>
                  </a:cxn>
                </a:cxnLst>
                <a:rect l="0" t="0" r="r" b="b"/>
                <a:pathLst>
                  <a:path w="198" h="170">
                    <a:moveTo>
                      <a:pt x="195" y="66"/>
                    </a:moveTo>
                    <a:cubicBezTo>
                      <a:pt x="180" y="54"/>
                      <a:pt x="180" y="54"/>
                      <a:pt x="180" y="54"/>
                    </a:cubicBezTo>
                    <a:cubicBezTo>
                      <a:pt x="180" y="54"/>
                      <a:pt x="172" y="54"/>
                      <a:pt x="168" y="53"/>
                    </a:cubicBezTo>
                    <a:cubicBezTo>
                      <a:pt x="165" y="52"/>
                      <a:pt x="169" y="45"/>
                      <a:pt x="169" y="45"/>
                    </a:cubicBezTo>
                    <a:cubicBezTo>
                      <a:pt x="168" y="41"/>
                      <a:pt x="168" y="41"/>
                      <a:pt x="168" y="41"/>
                    </a:cubicBezTo>
                    <a:cubicBezTo>
                      <a:pt x="168" y="41"/>
                      <a:pt x="172" y="35"/>
                      <a:pt x="174" y="31"/>
                    </a:cubicBezTo>
                    <a:cubicBezTo>
                      <a:pt x="176" y="27"/>
                      <a:pt x="177" y="18"/>
                      <a:pt x="177" y="18"/>
                    </a:cubicBezTo>
                    <a:cubicBezTo>
                      <a:pt x="180" y="15"/>
                      <a:pt x="180" y="15"/>
                      <a:pt x="180" y="15"/>
                    </a:cubicBezTo>
                    <a:cubicBezTo>
                      <a:pt x="165" y="13"/>
                      <a:pt x="165" y="13"/>
                      <a:pt x="165" y="13"/>
                    </a:cubicBezTo>
                    <a:cubicBezTo>
                      <a:pt x="165" y="13"/>
                      <a:pt x="160" y="18"/>
                      <a:pt x="154" y="18"/>
                    </a:cubicBezTo>
                    <a:cubicBezTo>
                      <a:pt x="149" y="18"/>
                      <a:pt x="151" y="9"/>
                      <a:pt x="145" y="6"/>
                    </a:cubicBezTo>
                    <a:cubicBezTo>
                      <a:pt x="139" y="5"/>
                      <a:pt x="137" y="9"/>
                      <a:pt x="137" y="9"/>
                    </a:cubicBezTo>
                    <a:cubicBezTo>
                      <a:pt x="131" y="4"/>
                      <a:pt x="131" y="4"/>
                      <a:pt x="131" y="4"/>
                    </a:cubicBezTo>
                    <a:cubicBezTo>
                      <a:pt x="123" y="3"/>
                      <a:pt x="123" y="3"/>
                      <a:pt x="123" y="3"/>
                    </a:cubicBezTo>
                    <a:cubicBezTo>
                      <a:pt x="123" y="3"/>
                      <a:pt x="123" y="9"/>
                      <a:pt x="120" y="9"/>
                    </a:cubicBezTo>
                    <a:cubicBezTo>
                      <a:pt x="117" y="9"/>
                      <a:pt x="112" y="3"/>
                      <a:pt x="112" y="3"/>
                    </a:cubicBezTo>
                    <a:cubicBezTo>
                      <a:pt x="112" y="3"/>
                      <a:pt x="108" y="11"/>
                      <a:pt x="104" y="11"/>
                    </a:cubicBezTo>
                    <a:cubicBezTo>
                      <a:pt x="101" y="11"/>
                      <a:pt x="96" y="7"/>
                      <a:pt x="96" y="7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0" y="7"/>
                      <a:pt x="62" y="0"/>
                      <a:pt x="62" y="0"/>
                    </a:cubicBezTo>
                    <a:cubicBezTo>
                      <a:pt x="57" y="6"/>
                      <a:pt x="57" y="6"/>
                      <a:pt x="57" y="6"/>
                    </a:cubicBezTo>
                    <a:cubicBezTo>
                      <a:pt x="57" y="6"/>
                      <a:pt x="46" y="4"/>
                      <a:pt x="42" y="4"/>
                    </a:cubicBezTo>
                    <a:cubicBezTo>
                      <a:pt x="38" y="5"/>
                      <a:pt x="38" y="18"/>
                      <a:pt x="34" y="19"/>
                    </a:cubicBezTo>
                    <a:cubicBezTo>
                      <a:pt x="30" y="21"/>
                      <a:pt x="24" y="15"/>
                      <a:pt x="21" y="12"/>
                    </a:cubicBezTo>
                    <a:cubicBezTo>
                      <a:pt x="18" y="9"/>
                      <a:pt x="14" y="4"/>
                      <a:pt x="7" y="9"/>
                    </a:cubicBezTo>
                    <a:cubicBezTo>
                      <a:pt x="0" y="12"/>
                      <a:pt x="8" y="36"/>
                      <a:pt x="8" y="36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23" y="44"/>
                      <a:pt x="23" y="44"/>
                      <a:pt x="23" y="44"/>
                    </a:cubicBezTo>
                    <a:cubicBezTo>
                      <a:pt x="21" y="48"/>
                      <a:pt x="21" y="48"/>
                      <a:pt x="21" y="48"/>
                    </a:cubicBezTo>
                    <a:cubicBezTo>
                      <a:pt x="21" y="48"/>
                      <a:pt x="26" y="51"/>
                      <a:pt x="29" y="58"/>
                    </a:cubicBezTo>
                    <a:cubicBezTo>
                      <a:pt x="31" y="63"/>
                      <a:pt x="30" y="68"/>
                      <a:pt x="38" y="76"/>
                    </a:cubicBezTo>
                    <a:cubicBezTo>
                      <a:pt x="44" y="83"/>
                      <a:pt x="57" y="92"/>
                      <a:pt x="57" y="92"/>
                    </a:cubicBezTo>
                    <a:cubicBezTo>
                      <a:pt x="59" y="95"/>
                      <a:pt x="59" y="95"/>
                      <a:pt x="59" y="95"/>
                    </a:cubicBezTo>
                    <a:cubicBezTo>
                      <a:pt x="76" y="110"/>
                      <a:pt x="76" y="110"/>
                      <a:pt x="76" y="110"/>
                    </a:cubicBezTo>
                    <a:cubicBezTo>
                      <a:pt x="88" y="116"/>
                      <a:pt x="88" y="116"/>
                      <a:pt x="88" y="116"/>
                    </a:cubicBezTo>
                    <a:cubicBezTo>
                      <a:pt x="88" y="116"/>
                      <a:pt x="87" y="120"/>
                      <a:pt x="88" y="125"/>
                    </a:cubicBezTo>
                    <a:cubicBezTo>
                      <a:pt x="89" y="129"/>
                      <a:pt x="102" y="135"/>
                      <a:pt x="108" y="140"/>
                    </a:cubicBezTo>
                    <a:cubicBezTo>
                      <a:pt x="113" y="145"/>
                      <a:pt x="110" y="151"/>
                      <a:pt x="110" y="151"/>
                    </a:cubicBezTo>
                    <a:cubicBezTo>
                      <a:pt x="118" y="149"/>
                      <a:pt x="118" y="149"/>
                      <a:pt x="118" y="149"/>
                    </a:cubicBezTo>
                    <a:cubicBezTo>
                      <a:pt x="140" y="168"/>
                      <a:pt x="140" y="168"/>
                      <a:pt x="140" y="168"/>
                    </a:cubicBezTo>
                    <a:cubicBezTo>
                      <a:pt x="140" y="168"/>
                      <a:pt x="142" y="165"/>
                      <a:pt x="146" y="167"/>
                    </a:cubicBezTo>
                    <a:cubicBezTo>
                      <a:pt x="148" y="167"/>
                      <a:pt x="149" y="168"/>
                      <a:pt x="149" y="170"/>
                    </a:cubicBezTo>
                    <a:cubicBezTo>
                      <a:pt x="154" y="167"/>
                      <a:pt x="154" y="167"/>
                      <a:pt x="154" y="167"/>
                    </a:cubicBezTo>
                    <a:cubicBezTo>
                      <a:pt x="154" y="157"/>
                      <a:pt x="154" y="157"/>
                      <a:pt x="154" y="157"/>
                    </a:cubicBezTo>
                    <a:cubicBezTo>
                      <a:pt x="151" y="157"/>
                      <a:pt x="151" y="157"/>
                      <a:pt x="151" y="157"/>
                    </a:cubicBezTo>
                    <a:cubicBezTo>
                      <a:pt x="151" y="157"/>
                      <a:pt x="149" y="144"/>
                      <a:pt x="150" y="141"/>
                    </a:cubicBezTo>
                    <a:cubicBezTo>
                      <a:pt x="152" y="138"/>
                      <a:pt x="155" y="138"/>
                      <a:pt x="157" y="137"/>
                    </a:cubicBezTo>
                    <a:cubicBezTo>
                      <a:pt x="159" y="135"/>
                      <a:pt x="154" y="126"/>
                      <a:pt x="156" y="123"/>
                    </a:cubicBezTo>
                    <a:cubicBezTo>
                      <a:pt x="157" y="121"/>
                      <a:pt x="160" y="117"/>
                      <a:pt x="165" y="117"/>
                    </a:cubicBezTo>
                    <a:cubicBezTo>
                      <a:pt x="168" y="117"/>
                      <a:pt x="172" y="122"/>
                      <a:pt x="175" y="119"/>
                    </a:cubicBezTo>
                    <a:cubicBezTo>
                      <a:pt x="177" y="116"/>
                      <a:pt x="166" y="107"/>
                      <a:pt x="166" y="107"/>
                    </a:cubicBezTo>
                    <a:cubicBezTo>
                      <a:pt x="167" y="101"/>
                      <a:pt x="167" y="101"/>
                      <a:pt x="167" y="101"/>
                    </a:cubicBezTo>
                    <a:cubicBezTo>
                      <a:pt x="172" y="105"/>
                      <a:pt x="172" y="105"/>
                      <a:pt x="172" y="105"/>
                    </a:cubicBezTo>
                    <a:cubicBezTo>
                      <a:pt x="180" y="105"/>
                      <a:pt x="180" y="105"/>
                      <a:pt x="180" y="105"/>
                    </a:cubicBezTo>
                    <a:cubicBezTo>
                      <a:pt x="181" y="99"/>
                      <a:pt x="181" y="99"/>
                      <a:pt x="181" y="99"/>
                    </a:cubicBezTo>
                    <a:cubicBezTo>
                      <a:pt x="181" y="99"/>
                      <a:pt x="186" y="104"/>
                      <a:pt x="191" y="99"/>
                    </a:cubicBezTo>
                    <a:cubicBezTo>
                      <a:pt x="198" y="96"/>
                      <a:pt x="185" y="84"/>
                      <a:pt x="185" y="84"/>
                    </a:cubicBezTo>
                    <a:cubicBezTo>
                      <a:pt x="177" y="73"/>
                      <a:pt x="177" y="73"/>
                      <a:pt x="177" y="73"/>
                    </a:cubicBezTo>
                    <a:cubicBezTo>
                      <a:pt x="177" y="73"/>
                      <a:pt x="185" y="74"/>
                      <a:pt x="190" y="74"/>
                    </a:cubicBezTo>
                    <a:cubicBezTo>
                      <a:pt x="195" y="74"/>
                      <a:pt x="195" y="66"/>
                      <a:pt x="195" y="66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2" name="Kroatien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4164370" y="4099334"/>
                <a:ext cx="790882" cy="724161"/>
              </a:xfrm>
              <a:custGeom>
                <a:avLst/>
                <a:gdLst/>
                <a:ahLst/>
                <a:cxnLst>
                  <a:cxn ang="0">
                    <a:pos x="260" y="53"/>
                  </a:cxn>
                  <a:cxn ang="0">
                    <a:pos x="248" y="34"/>
                  </a:cxn>
                  <a:cxn ang="0">
                    <a:pos x="195" y="44"/>
                  </a:cxn>
                  <a:cxn ang="0">
                    <a:pos x="157" y="12"/>
                  </a:cxn>
                  <a:cxn ang="0">
                    <a:pos x="127" y="1"/>
                  </a:cxn>
                  <a:cxn ang="0">
                    <a:pos x="97" y="28"/>
                  </a:cxn>
                  <a:cxn ang="0">
                    <a:pos x="80" y="58"/>
                  </a:cxn>
                  <a:cxn ang="0">
                    <a:pos x="89" y="72"/>
                  </a:cxn>
                  <a:cxn ang="0">
                    <a:pos x="67" y="75"/>
                  </a:cxn>
                  <a:cxn ang="0">
                    <a:pos x="50" y="66"/>
                  </a:cxn>
                  <a:cxn ang="0">
                    <a:pos x="27" y="75"/>
                  </a:cxn>
                  <a:cxn ang="0">
                    <a:pos x="2" y="77"/>
                  </a:cxn>
                  <a:cxn ang="0">
                    <a:pos x="11" y="98"/>
                  </a:cxn>
                  <a:cxn ang="0">
                    <a:pos x="26" y="119"/>
                  </a:cxn>
                  <a:cxn ang="0">
                    <a:pos x="62" y="95"/>
                  </a:cxn>
                  <a:cxn ang="0">
                    <a:pos x="102" y="151"/>
                  </a:cxn>
                  <a:cxn ang="0">
                    <a:pos x="99" y="176"/>
                  </a:cxn>
                  <a:cxn ang="0">
                    <a:pos x="144" y="197"/>
                  </a:cxn>
                  <a:cxn ang="0">
                    <a:pos x="210" y="235"/>
                  </a:cxn>
                  <a:cxn ang="0">
                    <a:pos x="182" y="229"/>
                  </a:cxn>
                  <a:cxn ang="0">
                    <a:pos x="231" y="249"/>
                  </a:cxn>
                  <a:cxn ang="0">
                    <a:pos x="248" y="248"/>
                  </a:cxn>
                  <a:cxn ang="0">
                    <a:pos x="210" y="221"/>
                  </a:cxn>
                  <a:cxn ang="0">
                    <a:pos x="161" y="176"/>
                  </a:cxn>
                  <a:cxn ang="0">
                    <a:pos x="123" y="129"/>
                  </a:cxn>
                  <a:cxn ang="0">
                    <a:pos x="109" y="90"/>
                  </a:cxn>
                  <a:cxn ang="0">
                    <a:pos x="159" y="87"/>
                  </a:cxn>
                  <a:cxn ang="0">
                    <a:pos x="206" y="92"/>
                  </a:cxn>
                  <a:cxn ang="0">
                    <a:pos x="233" y="85"/>
                  </a:cxn>
                  <a:cxn ang="0">
                    <a:pos x="267" y="94"/>
                  </a:cxn>
                  <a:cxn ang="0">
                    <a:pos x="280" y="74"/>
                  </a:cxn>
                  <a:cxn ang="0">
                    <a:pos x="60" y="102"/>
                  </a:cxn>
                  <a:cxn ang="0">
                    <a:pos x="50" y="97"/>
                  </a:cxn>
                  <a:cxn ang="0">
                    <a:pos x="56" y="107"/>
                  </a:cxn>
                  <a:cxn ang="0">
                    <a:pos x="47" y="115"/>
                  </a:cxn>
                  <a:cxn ang="0">
                    <a:pos x="40" y="95"/>
                  </a:cxn>
                  <a:cxn ang="0">
                    <a:pos x="41" y="111"/>
                  </a:cxn>
                  <a:cxn ang="0">
                    <a:pos x="51" y="140"/>
                  </a:cxn>
                  <a:cxn ang="0">
                    <a:pos x="49" y="130"/>
                  </a:cxn>
                  <a:cxn ang="0">
                    <a:pos x="37" y="130"/>
                  </a:cxn>
                  <a:cxn ang="0">
                    <a:pos x="70" y="131"/>
                  </a:cxn>
                  <a:cxn ang="0">
                    <a:pos x="76" y="143"/>
                  </a:cxn>
                  <a:cxn ang="0">
                    <a:pos x="63" y="121"/>
                  </a:cxn>
                  <a:cxn ang="0">
                    <a:pos x="59" y="121"/>
                  </a:cxn>
                  <a:cxn ang="0">
                    <a:pos x="75" y="165"/>
                  </a:cxn>
                  <a:cxn ang="0">
                    <a:pos x="79" y="169"/>
                  </a:cxn>
                  <a:cxn ang="0">
                    <a:pos x="169" y="208"/>
                  </a:cxn>
                  <a:cxn ang="0">
                    <a:pos x="144" y="209"/>
                  </a:cxn>
                  <a:cxn ang="0">
                    <a:pos x="136" y="206"/>
                  </a:cxn>
                  <a:cxn ang="0">
                    <a:pos x="163" y="219"/>
                  </a:cxn>
                  <a:cxn ang="0">
                    <a:pos x="153" y="218"/>
                  </a:cxn>
                  <a:cxn ang="0">
                    <a:pos x="182" y="222"/>
                  </a:cxn>
                  <a:cxn ang="0">
                    <a:pos x="135" y="227"/>
                  </a:cxn>
                  <a:cxn ang="0">
                    <a:pos x="169" y="233"/>
                  </a:cxn>
                  <a:cxn ang="0">
                    <a:pos x="160" y="235"/>
                  </a:cxn>
                  <a:cxn ang="0">
                    <a:pos x="186" y="235"/>
                  </a:cxn>
                  <a:cxn ang="0">
                    <a:pos x="213" y="246"/>
                  </a:cxn>
                  <a:cxn ang="0">
                    <a:pos x="71" y="155"/>
                  </a:cxn>
                  <a:cxn ang="0">
                    <a:pos x="63" y="153"/>
                  </a:cxn>
                  <a:cxn ang="0">
                    <a:pos x="77" y="153"/>
                  </a:cxn>
                  <a:cxn ang="0">
                    <a:pos x="61" y="143"/>
                  </a:cxn>
                  <a:cxn ang="0">
                    <a:pos x="91" y="182"/>
                  </a:cxn>
                  <a:cxn ang="0">
                    <a:pos x="81" y="164"/>
                  </a:cxn>
                </a:cxnLst>
                <a:rect l="0" t="0" r="r" b="b"/>
                <a:pathLst>
                  <a:path w="280" h="257">
                    <a:moveTo>
                      <a:pt x="269" y="74"/>
                    </a:moveTo>
                    <a:cubicBezTo>
                      <a:pt x="258" y="67"/>
                      <a:pt x="258" y="67"/>
                      <a:pt x="258" y="67"/>
                    </a:cubicBezTo>
                    <a:cubicBezTo>
                      <a:pt x="258" y="67"/>
                      <a:pt x="253" y="63"/>
                      <a:pt x="258" y="61"/>
                    </a:cubicBezTo>
                    <a:cubicBezTo>
                      <a:pt x="264" y="59"/>
                      <a:pt x="266" y="53"/>
                      <a:pt x="260" y="53"/>
                    </a:cubicBezTo>
                    <a:cubicBezTo>
                      <a:pt x="256" y="54"/>
                      <a:pt x="256" y="59"/>
                      <a:pt x="253" y="54"/>
                    </a:cubicBezTo>
                    <a:cubicBezTo>
                      <a:pt x="250" y="51"/>
                      <a:pt x="255" y="46"/>
                      <a:pt x="255" y="41"/>
                    </a:cubicBezTo>
                    <a:cubicBezTo>
                      <a:pt x="255" y="40"/>
                      <a:pt x="253" y="37"/>
                      <a:pt x="250" y="34"/>
                    </a:cubicBezTo>
                    <a:cubicBezTo>
                      <a:pt x="248" y="34"/>
                      <a:pt x="248" y="34"/>
                      <a:pt x="248" y="34"/>
                    </a:cubicBezTo>
                    <a:cubicBezTo>
                      <a:pt x="241" y="35"/>
                      <a:pt x="241" y="35"/>
                      <a:pt x="241" y="35"/>
                    </a:cubicBezTo>
                    <a:cubicBezTo>
                      <a:pt x="234" y="45"/>
                      <a:pt x="234" y="45"/>
                      <a:pt x="234" y="45"/>
                    </a:cubicBezTo>
                    <a:cubicBezTo>
                      <a:pt x="234" y="45"/>
                      <a:pt x="223" y="46"/>
                      <a:pt x="218" y="46"/>
                    </a:cubicBezTo>
                    <a:cubicBezTo>
                      <a:pt x="213" y="46"/>
                      <a:pt x="195" y="44"/>
                      <a:pt x="195" y="44"/>
                    </a:cubicBezTo>
                    <a:cubicBezTo>
                      <a:pt x="195" y="44"/>
                      <a:pt x="194" y="38"/>
                      <a:pt x="190" y="36"/>
                    </a:cubicBezTo>
                    <a:cubicBezTo>
                      <a:pt x="186" y="34"/>
                      <a:pt x="179" y="35"/>
                      <a:pt x="179" y="35"/>
                    </a:cubicBezTo>
                    <a:cubicBezTo>
                      <a:pt x="161" y="20"/>
                      <a:pt x="161" y="20"/>
                      <a:pt x="161" y="20"/>
                    </a:cubicBezTo>
                    <a:cubicBezTo>
                      <a:pt x="161" y="20"/>
                      <a:pt x="159" y="15"/>
                      <a:pt x="157" y="12"/>
                    </a:cubicBezTo>
                    <a:cubicBezTo>
                      <a:pt x="155" y="9"/>
                      <a:pt x="148" y="11"/>
                      <a:pt x="148" y="11"/>
                    </a:cubicBezTo>
                    <a:cubicBezTo>
                      <a:pt x="146" y="6"/>
                      <a:pt x="146" y="6"/>
                      <a:pt x="146" y="6"/>
                    </a:cubicBezTo>
                    <a:cubicBezTo>
                      <a:pt x="140" y="3"/>
                      <a:pt x="140" y="3"/>
                      <a:pt x="140" y="3"/>
                    </a:cubicBezTo>
                    <a:cubicBezTo>
                      <a:pt x="140" y="3"/>
                      <a:pt x="131" y="0"/>
                      <a:pt x="127" y="1"/>
                    </a:cubicBezTo>
                    <a:cubicBezTo>
                      <a:pt x="124" y="1"/>
                      <a:pt x="127" y="12"/>
                      <a:pt x="127" y="12"/>
                    </a:cubicBezTo>
                    <a:cubicBezTo>
                      <a:pt x="127" y="12"/>
                      <a:pt x="121" y="9"/>
                      <a:pt x="119" y="9"/>
                    </a:cubicBezTo>
                    <a:cubicBezTo>
                      <a:pt x="116" y="9"/>
                      <a:pt x="119" y="16"/>
                      <a:pt x="119" y="16"/>
                    </a:cubicBezTo>
                    <a:cubicBezTo>
                      <a:pt x="119" y="16"/>
                      <a:pt x="100" y="24"/>
                      <a:pt x="97" y="28"/>
                    </a:cubicBezTo>
                    <a:cubicBezTo>
                      <a:pt x="94" y="32"/>
                      <a:pt x="104" y="36"/>
                      <a:pt x="104" y="36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6" y="47"/>
                      <a:pt x="82" y="54"/>
                      <a:pt x="80" y="58"/>
                    </a:cubicBezTo>
                    <a:cubicBezTo>
                      <a:pt x="78" y="62"/>
                      <a:pt x="88" y="58"/>
                      <a:pt x="88" y="58"/>
                    </a:cubicBezTo>
                    <a:cubicBezTo>
                      <a:pt x="90" y="61"/>
                      <a:pt x="90" y="61"/>
                      <a:pt x="90" y="61"/>
                    </a:cubicBezTo>
                    <a:cubicBezTo>
                      <a:pt x="90" y="61"/>
                      <a:pt x="88" y="64"/>
                      <a:pt x="86" y="66"/>
                    </a:cubicBezTo>
                    <a:cubicBezTo>
                      <a:pt x="83" y="68"/>
                      <a:pt x="89" y="72"/>
                      <a:pt x="89" y="72"/>
                    </a:cubicBezTo>
                    <a:cubicBezTo>
                      <a:pt x="89" y="72"/>
                      <a:pt x="86" y="77"/>
                      <a:pt x="79" y="77"/>
                    </a:cubicBezTo>
                    <a:cubicBezTo>
                      <a:pt x="73" y="77"/>
                      <a:pt x="75" y="74"/>
                      <a:pt x="75" y="74"/>
                    </a:cubicBezTo>
                    <a:cubicBezTo>
                      <a:pt x="75" y="74"/>
                      <a:pt x="70" y="70"/>
                      <a:pt x="67" y="70"/>
                    </a:cubicBezTo>
                    <a:cubicBezTo>
                      <a:pt x="66" y="70"/>
                      <a:pt x="67" y="75"/>
                      <a:pt x="67" y="75"/>
                    </a:cubicBezTo>
                    <a:cubicBezTo>
                      <a:pt x="57" y="71"/>
                      <a:pt x="57" y="71"/>
                      <a:pt x="57" y="71"/>
                    </a:cubicBezTo>
                    <a:cubicBezTo>
                      <a:pt x="53" y="66"/>
                      <a:pt x="53" y="66"/>
                      <a:pt x="53" y="66"/>
                    </a:cubicBezTo>
                    <a:cubicBezTo>
                      <a:pt x="53" y="66"/>
                      <a:pt x="53" y="62"/>
                      <a:pt x="50" y="62"/>
                    </a:cubicBezTo>
                    <a:cubicBezTo>
                      <a:pt x="49" y="63"/>
                      <a:pt x="50" y="66"/>
                      <a:pt x="50" y="66"/>
                    </a:cubicBezTo>
                    <a:cubicBezTo>
                      <a:pt x="48" y="67"/>
                      <a:pt x="48" y="67"/>
                      <a:pt x="48" y="67"/>
                    </a:cubicBezTo>
                    <a:cubicBezTo>
                      <a:pt x="47" y="71"/>
                      <a:pt x="47" y="71"/>
                      <a:pt x="47" y="71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27" y="75"/>
                      <a:pt x="27" y="75"/>
                      <a:pt x="27" y="75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0" y="80"/>
                      <a:pt x="9" y="80"/>
                    </a:cubicBezTo>
                    <a:cubicBezTo>
                      <a:pt x="7" y="80"/>
                      <a:pt x="2" y="77"/>
                      <a:pt x="2" y="77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11" y="98"/>
                      <a:pt x="11" y="98"/>
                      <a:pt x="11" y="98"/>
                    </a:cubicBezTo>
                    <a:cubicBezTo>
                      <a:pt x="7" y="100"/>
                      <a:pt x="7" y="100"/>
                      <a:pt x="7" y="100"/>
                    </a:cubicBezTo>
                    <a:cubicBezTo>
                      <a:pt x="14" y="108"/>
                      <a:pt x="14" y="108"/>
                      <a:pt x="14" y="108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6" y="119"/>
                      <a:pt x="26" y="119"/>
                      <a:pt x="26" y="119"/>
                    </a:cubicBezTo>
                    <a:cubicBezTo>
                      <a:pt x="27" y="107"/>
                      <a:pt x="27" y="107"/>
                      <a:pt x="27" y="107"/>
                    </a:cubicBezTo>
                    <a:cubicBezTo>
                      <a:pt x="27" y="107"/>
                      <a:pt x="30" y="111"/>
                      <a:pt x="33" y="110"/>
                    </a:cubicBezTo>
                    <a:cubicBezTo>
                      <a:pt x="37" y="108"/>
                      <a:pt x="34" y="88"/>
                      <a:pt x="39" y="85"/>
                    </a:cubicBezTo>
                    <a:cubicBezTo>
                      <a:pt x="43" y="82"/>
                      <a:pt x="62" y="95"/>
                      <a:pt x="62" y="95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0" y="108"/>
                      <a:pt x="64" y="121"/>
                      <a:pt x="70" y="126"/>
                    </a:cubicBezTo>
                    <a:cubicBezTo>
                      <a:pt x="74" y="131"/>
                      <a:pt x="88" y="146"/>
                      <a:pt x="88" y="146"/>
                    </a:cubicBezTo>
                    <a:cubicBezTo>
                      <a:pt x="88" y="146"/>
                      <a:pt x="98" y="150"/>
                      <a:pt x="102" y="151"/>
                    </a:cubicBezTo>
                    <a:cubicBezTo>
                      <a:pt x="104" y="153"/>
                      <a:pt x="108" y="158"/>
                      <a:pt x="108" y="158"/>
                    </a:cubicBezTo>
                    <a:cubicBezTo>
                      <a:pt x="108" y="158"/>
                      <a:pt x="93" y="153"/>
                      <a:pt x="91" y="151"/>
                    </a:cubicBezTo>
                    <a:cubicBezTo>
                      <a:pt x="89" y="151"/>
                      <a:pt x="82" y="154"/>
                      <a:pt x="82" y="154"/>
                    </a:cubicBezTo>
                    <a:cubicBezTo>
                      <a:pt x="82" y="154"/>
                      <a:pt x="90" y="173"/>
                      <a:pt x="99" y="176"/>
                    </a:cubicBezTo>
                    <a:cubicBezTo>
                      <a:pt x="108" y="179"/>
                      <a:pt x="123" y="190"/>
                      <a:pt x="123" y="190"/>
                    </a:cubicBezTo>
                    <a:cubicBezTo>
                      <a:pt x="123" y="190"/>
                      <a:pt x="120" y="195"/>
                      <a:pt x="123" y="198"/>
                    </a:cubicBezTo>
                    <a:cubicBezTo>
                      <a:pt x="127" y="202"/>
                      <a:pt x="131" y="201"/>
                      <a:pt x="131" y="201"/>
                    </a:cubicBezTo>
                    <a:cubicBezTo>
                      <a:pt x="144" y="197"/>
                      <a:pt x="144" y="197"/>
                      <a:pt x="144" y="197"/>
                    </a:cubicBezTo>
                    <a:cubicBezTo>
                      <a:pt x="169" y="204"/>
                      <a:pt x="169" y="204"/>
                      <a:pt x="169" y="204"/>
                    </a:cubicBezTo>
                    <a:cubicBezTo>
                      <a:pt x="169" y="204"/>
                      <a:pt x="173" y="213"/>
                      <a:pt x="180" y="217"/>
                    </a:cubicBezTo>
                    <a:cubicBezTo>
                      <a:pt x="187" y="219"/>
                      <a:pt x="195" y="225"/>
                      <a:pt x="200" y="228"/>
                    </a:cubicBezTo>
                    <a:cubicBezTo>
                      <a:pt x="203" y="232"/>
                      <a:pt x="210" y="235"/>
                      <a:pt x="210" y="235"/>
                    </a:cubicBezTo>
                    <a:cubicBezTo>
                      <a:pt x="210" y="235"/>
                      <a:pt x="202" y="233"/>
                      <a:pt x="200" y="232"/>
                    </a:cubicBezTo>
                    <a:cubicBezTo>
                      <a:pt x="197" y="230"/>
                      <a:pt x="194" y="228"/>
                      <a:pt x="192" y="228"/>
                    </a:cubicBezTo>
                    <a:cubicBezTo>
                      <a:pt x="189" y="227"/>
                      <a:pt x="176" y="225"/>
                      <a:pt x="176" y="225"/>
                    </a:cubicBezTo>
                    <a:cubicBezTo>
                      <a:pt x="176" y="225"/>
                      <a:pt x="180" y="229"/>
                      <a:pt x="182" y="229"/>
                    </a:cubicBezTo>
                    <a:cubicBezTo>
                      <a:pt x="185" y="230"/>
                      <a:pt x="197" y="235"/>
                      <a:pt x="197" y="235"/>
                    </a:cubicBezTo>
                    <a:cubicBezTo>
                      <a:pt x="212" y="241"/>
                      <a:pt x="212" y="241"/>
                      <a:pt x="212" y="241"/>
                    </a:cubicBezTo>
                    <a:cubicBezTo>
                      <a:pt x="214" y="239"/>
                      <a:pt x="214" y="239"/>
                      <a:pt x="214" y="239"/>
                    </a:cubicBezTo>
                    <a:cubicBezTo>
                      <a:pt x="231" y="249"/>
                      <a:pt x="231" y="249"/>
                      <a:pt x="231" y="249"/>
                    </a:cubicBezTo>
                    <a:cubicBezTo>
                      <a:pt x="236" y="249"/>
                      <a:pt x="236" y="249"/>
                      <a:pt x="236" y="249"/>
                    </a:cubicBezTo>
                    <a:cubicBezTo>
                      <a:pt x="239" y="251"/>
                      <a:pt x="239" y="251"/>
                      <a:pt x="239" y="251"/>
                    </a:cubicBezTo>
                    <a:cubicBezTo>
                      <a:pt x="251" y="257"/>
                      <a:pt x="251" y="257"/>
                      <a:pt x="251" y="257"/>
                    </a:cubicBezTo>
                    <a:cubicBezTo>
                      <a:pt x="251" y="257"/>
                      <a:pt x="253" y="248"/>
                      <a:pt x="248" y="248"/>
                    </a:cubicBezTo>
                    <a:cubicBezTo>
                      <a:pt x="244" y="246"/>
                      <a:pt x="242" y="249"/>
                      <a:pt x="242" y="249"/>
                    </a:cubicBezTo>
                    <a:cubicBezTo>
                      <a:pt x="220" y="230"/>
                      <a:pt x="220" y="230"/>
                      <a:pt x="220" y="230"/>
                    </a:cubicBezTo>
                    <a:cubicBezTo>
                      <a:pt x="212" y="232"/>
                      <a:pt x="212" y="232"/>
                      <a:pt x="212" y="232"/>
                    </a:cubicBezTo>
                    <a:cubicBezTo>
                      <a:pt x="212" y="232"/>
                      <a:pt x="215" y="226"/>
                      <a:pt x="210" y="221"/>
                    </a:cubicBezTo>
                    <a:cubicBezTo>
                      <a:pt x="204" y="216"/>
                      <a:pt x="191" y="210"/>
                      <a:pt x="190" y="206"/>
                    </a:cubicBezTo>
                    <a:cubicBezTo>
                      <a:pt x="189" y="201"/>
                      <a:pt x="190" y="197"/>
                      <a:pt x="190" y="197"/>
                    </a:cubicBezTo>
                    <a:cubicBezTo>
                      <a:pt x="178" y="191"/>
                      <a:pt x="178" y="191"/>
                      <a:pt x="178" y="191"/>
                    </a:cubicBezTo>
                    <a:cubicBezTo>
                      <a:pt x="161" y="176"/>
                      <a:pt x="161" y="176"/>
                      <a:pt x="161" y="176"/>
                    </a:cubicBezTo>
                    <a:cubicBezTo>
                      <a:pt x="159" y="173"/>
                      <a:pt x="159" y="173"/>
                      <a:pt x="159" y="173"/>
                    </a:cubicBezTo>
                    <a:cubicBezTo>
                      <a:pt x="159" y="173"/>
                      <a:pt x="146" y="164"/>
                      <a:pt x="140" y="157"/>
                    </a:cubicBezTo>
                    <a:cubicBezTo>
                      <a:pt x="132" y="149"/>
                      <a:pt x="133" y="144"/>
                      <a:pt x="131" y="139"/>
                    </a:cubicBezTo>
                    <a:cubicBezTo>
                      <a:pt x="128" y="132"/>
                      <a:pt x="123" y="129"/>
                      <a:pt x="123" y="129"/>
                    </a:cubicBezTo>
                    <a:cubicBezTo>
                      <a:pt x="125" y="125"/>
                      <a:pt x="125" y="125"/>
                      <a:pt x="125" y="125"/>
                    </a:cubicBezTo>
                    <a:cubicBezTo>
                      <a:pt x="120" y="118"/>
                      <a:pt x="120" y="118"/>
                      <a:pt x="120" y="118"/>
                    </a:cubicBezTo>
                    <a:cubicBezTo>
                      <a:pt x="110" y="117"/>
                      <a:pt x="110" y="117"/>
                      <a:pt x="110" y="117"/>
                    </a:cubicBezTo>
                    <a:cubicBezTo>
                      <a:pt x="110" y="117"/>
                      <a:pt x="102" y="93"/>
                      <a:pt x="109" y="90"/>
                    </a:cubicBezTo>
                    <a:cubicBezTo>
                      <a:pt x="116" y="85"/>
                      <a:pt x="120" y="90"/>
                      <a:pt x="123" y="93"/>
                    </a:cubicBezTo>
                    <a:cubicBezTo>
                      <a:pt x="126" y="96"/>
                      <a:pt x="132" y="102"/>
                      <a:pt x="136" y="100"/>
                    </a:cubicBezTo>
                    <a:cubicBezTo>
                      <a:pt x="140" y="99"/>
                      <a:pt x="140" y="86"/>
                      <a:pt x="144" y="85"/>
                    </a:cubicBezTo>
                    <a:cubicBezTo>
                      <a:pt x="148" y="85"/>
                      <a:pt x="159" y="87"/>
                      <a:pt x="159" y="87"/>
                    </a:cubicBezTo>
                    <a:cubicBezTo>
                      <a:pt x="164" y="81"/>
                      <a:pt x="164" y="81"/>
                      <a:pt x="164" y="81"/>
                    </a:cubicBezTo>
                    <a:cubicBezTo>
                      <a:pt x="164" y="81"/>
                      <a:pt x="172" y="88"/>
                      <a:pt x="176" y="88"/>
                    </a:cubicBezTo>
                    <a:cubicBezTo>
                      <a:pt x="198" y="88"/>
                      <a:pt x="198" y="88"/>
                      <a:pt x="198" y="88"/>
                    </a:cubicBezTo>
                    <a:cubicBezTo>
                      <a:pt x="198" y="88"/>
                      <a:pt x="203" y="92"/>
                      <a:pt x="206" y="92"/>
                    </a:cubicBezTo>
                    <a:cubicBezTo>
                      <a:pt x="210" y="92"/>
                      <a:pt x="214" y="84"/>
                      <a:pt x="214" y="84"/>
                    </a:cubicBezTo>
                    <a:cubicBezTo>
                      <a:pt x="214" y="84"/>
                      <a:pt x="219" y="90"/>
                      <a:pt x="222" y="90"/>
                    </a:cubicBezTo>
                    <a:cubicBezTo>
                      <a:pt x="225" y="90"/>
                      <a:pt x="225" y="84"/>
                      <a:pt x="225" y="84"/>
                    </a:cubicBezTo>
                    <a:cubicBezTo>
                      <a:pt x="233" y="85"/>
                      <a:pt x="233" y="85"/>
                      <a:pt x="233" y="85"/>
                    </a:cubicBezTo>
                    <a:cubicBezTo>
                      <a:pt x="239" y="90"/>
                      <a:pt x="239" y="90"/>
                      <a:pt x="239" y="90"/>
                    </a:cubicBezTo>
                    <a:cubicBezTo>
                      <a:pt x="239" y="90"/>
                      <a:pt x="241" y="86"/>
                      <a:pt x="247" y="87"/>
                    </a:cubicBezTo>
                    <a:cubicBezTo>
                      <a:pt x="253" y="90"/>
                      <a:pt x="251" y="99"/>
                      <a:pt x="256" y="99"/>
                    </a:cubicBezTo>
                    <a:cubicBezTo>
                      <a:pt x="262" y="99"/>
                      <a:pt x="267" y="94"/>
                      <a:pt x="267" y="94"/>
                    </a:cubicBezTo>
                    <a:cubicBezTo>
                      <a:pt x="264" y="82"/>
                      <a:pt x="264" y="82"/>
                      <a:pt x="264" y="82"/>
                    </a:cubicBezTo>
                    <a:cubicBezTo>
                      <a:pt x="269" y="77"/>
                      <a:pt x="269" y="77"/>
                      <a:pt x="269" y="77"/>
                    </a:cubicBezTo>
                    <a:cubicBezTo>
                      <a:pt x="280" y="77"/>
                      <a:pt x="280" y="77"/>
                      <a:pt x="280" y="77"/>
                    </a:cubicBezTo>
                    <a:cubicBezTo>
                      <a:pt x="280" y="74"/>
                      <a:pt x="280" y="74"/>
                      <a:pt x="280" y="74"/>
                    </a:cubicBezTo>
                    <a:lnTo>
                      <a:pt x="269" y="74"/>
                    </a:lnTo>
                    <a:close/>
                    <a:moveTo>
                      <a:pt x="60" y="109"/>
                    </a:moveTo>
                    <a:cubicBezTo>
                      <a:pt x="64" y="106"/>
                      <a:pt x="64" y="106"/>
                      <a:pt x="64" y="106"/>
                    </a:cubicBezTo>
                    <a:cubicBezTo>
                      <a:pt x="60" y="102"/>
                      <a:pt x="60" y="102"/>
                      <a:pt x="60" y="102"/>
                    </a:cubicBezTo>
                    <a:cubicBezTo>
                      <a:pt x="58" y="98"/>
                      <a:pt x="58" y="98"/>
                      <a:pt x="58" y="98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49" y="92"/>
                      <a:pt x="49" y="92"/>
                      <a:pt x="49" y="92"/>
                    </a:cubicBezTo>
                    <a:cubicBezTo>
                      <a:pt x="50" y="97"/>
                      <a:pt x="50" y="97"/>
                      <a:pt x="50" y="97"/>
                    </a:cubicBezTo>
                    <a:cubicBezTo>
                      <a:pt x="46" y="101"/>
                      <a:pt x="46" y="101"/>
                      <a:pt x="46" y="101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56" y="104"/>
                      <a:pt x="56" y="104"/>
                      <a:pt x="56" y="104"/>
                    </a:cubicBezTo>
                    <a:cubicBezTo>
                      <a:pt x="56" y="107"/>
                      <a:pt x="56" y="107"/>
                      <a:pt x="56" y="107"/>
                    </a:cubicBezTo>
                    <a:lnTo>
                      <a:pt x="60" y="109"/>
                    </a:lnTo>
                    <a:close/>
                    <a:moveTo>
                      <a:pt x="53" y="129"/>
                    </a:moveTo>
                    <a:cubicBezTo>
                      <a:pt x="49" y="126"/>
                      <a:pt x="49" y="126"/>
                      <a:pt x="49" y="126"/>
                    </a:cubicBezTo>
                    <a:cubicBezTo>
                      <a:pt x="47" y="115"/>
                      <a:pt x="47" y="115"/>
                      <a:pt x="47" y="115"/>
                    </a:cubicBezTo>
                    <a:cubicBezTo>
                      <a:pt x="47" y="115"/>
                      <a:pt x="50" y="112"/>
                      <a:pt x="48" y="110"/>
                    </a:cubicBezTo>
                    <a:cubicBezTo>
                      <a:pt x="47" y="108"/>
                      <a:pt x="45" y="106"/>
                      <a:pt x="44" y="102"/>
                    </a:cubicBezTo>
                    <a:cubicBezTo>
                      <a:pt x="44" y="100"/>
                      <a:pt x="43" y="95"/>
                      <a:pt x="43" y="95"/>
                    </a:cubicBezTo>
                    <a:cubicBezTo>
                      <a:pt x="40" y="95"/>
                      <a:pt x="40" y="95"/>
                      <a:pt x="40" y="95"/>
                    </a:cubicBezTo>
                    <a:cubicBezTo>
                      <a:pt x="38" y="100"/>
                      <a:pt x="38" y="100"/>
                      <a:pt x="38" y="100"/>
                    </a:cubicBezTo>
                    <a:cubicBezTo>
                      <a:pt x="38" y="100"/>
                      <a:pt x="42" y="106"/>
                      <a:pt x="44" y="107"/>
                    </a:cubicBezTo>
                    <a:cubicBezTo>
                      <a:pt x="45" y="109"/>
                      <a:pt x="44" y="112"/>
                      <a:pt x="44" y="112"/>
                    </a:cubicBezTo>
                    <a:cubicBezTo>
                      <a:pt x="41" y="111"/>
                      <a:pt x="41" y="111"/>
                      <a:pt x="41" y="111"/>
                    </a:cubicBezTo>
                    <a:cubicBezTo>
                      <a:pt x="46" y="124"/>
                      <a:pt x="46" y="124"/>
                      <a:pt x="46" y="124"/>
                    </a:cubicBezTo>
                    <a:cubicBezTo>
                      <a:pt x="42" y="124"/>
                      <a:pt x="42" y="124"/>
                      <a:pt x="42" y="124"/>
                    </a:cubicBezTo>
                    <a:cubicBezTo>
                      <a:pt x="45" y="135"/>
                      <a:pt x="45" y="135"/>
                      <a:pt x="45" y="135"/>
                    </a:cubicBezTo>
                    <a:cubicBezTo>
                      <a:pt x="51" y="140"/>
                      <a:pt x="51" y="140"/>
                      <a:pt x="51" y="140"/>
                    </a:cubicBezTo>
                    <a:cubicBezTo>
                      <a:pt x="53" y="138"/>
                      <a:pt x="53" y="138"/>
                      <a:pt x="53" y="138"/>
                    </a:cubicBezTo>
                    <a:cubicBezTo>
                      <a:pt x="47" y="132"/>
                      <a:pt x="47" y="132"/>
                      <a:pt x="47" y="132"/>
                    </a:cubicBezTo>
                    <a:cubicBezTo>
                      <a:pt x="46" y="129"/>
                      <a:pt x="46" y="129"/>
                      <a:pt x="46" y="129"/>
                    </a:cubicBezTo>
                    <a:cubicBezTo>
                      <a:pt x="49" y="130"/>
                      <a:pt x="49" y="130"/>
                      <a:pt x="49" y="130"/>
                    </a:cubicBezTo>
                    <a:lnTo>
                      <a:pt x="53" y="129"/>
                    </a:lnTo>
                    <a:close/>
                    <a:moveTo>
                      <a:pt x="37" y="130"/>
                    </a:moveTo>
                    <a:cubicBezTo>
                      <a:pt x="37" y="133"/>
                      <a:pt x="40" y="129"/>
                      <a:pt x="40" y="129"/>
                    </a:cubicBezTo>
                    <a:cubicBezTo>
                      <a:pt x="40" y="125"/>
                      <a:pt x="37" y="127"/>
                      <a:pt x="37" y="130"/>
                    </a:cubicBezTo>
                    <a:close/>
                    <a:moveTo>
                      <a:pt x="86" y="147"/>
                    </a:moveTo>
                    <a:cubicBezTo>
                      <a:pt x="78" y="140"/>
                      <a:pt x="78" y="140"/>
                      <a:pt x="78" y="140"/>
                    </a:cubicBezTo>
                    <a:cubicBezTo>
                      <a:pt x="74" y="139"/>
                      <a:pt x="74" y="139"/>
                      <a:pt x="74" y="139"/>
                    </a:cubicBezTo>
                    <a:cubicBezTo>
                      <a:pt x="70" y="131"/>
                      <a:pt x="70" y="131"/>
                      <a:pt x="70" y="131"/>
                    </a:cubicBezTo>
                    <a:cubicBezTo>
                      <a:pt x="67" y="130"/>
                      <a:pt x="67" y="130"/>
                      <a:pt x="67" y="130"/>
                    </a:cubicBezTo>
                    <a:cubicBezTo>
                      <a:pt x="62" y="127"/>
                      <a:pt x="62" y="127"/>
                      <a:pt x="62" y="127"/>
                    </a:cubicBezTo>
                    <a:cubicBezTo>
                      <a:pt x="72" y="140"/>
                      <a:pt x="72" y="140"/>
                      <a:pt x="72" y="140"/>
                    </a:cubicBezTo>
                    <a:cubicBezTo>
                      <a:pt x="76" y="143"/>
                      <a:pt x="76" y="143"/>
                      <a:pt x="76" y="143"/>
                    </a:cubicBezTo>
                    <a:cubicBezTo>
                      <a:pt x="82" y="149"/>
                      <a:pt x="82" y="149"/>
                      <a:pt x="82" y="149"/>
                    </a:cubicBezTo>
                    <a:lnTo>
                      <a:pt x="86" y="147"/>
                    </a:lnTo>
                    <a:close/>
                    <a:moveTo>
                      <a:pt x="59" y="121"/>
                    </a:moveTo>
                    <a:cubicBezTo>
                      <a:pt x="63" y="121"/>
                      <a:pt x="63" y="121"/>
                      <a:pt x="63" y="121"/>
                    </a:cubicBezTo>
                    <a:cubicBezTo>
                      <a:pt x="61" y="114"/>
                      <a:pt x="61" y="114"/>
                      <a:pt x="61" y="114"/>
                    </a:cubicBezTo>
                    <a:cubicBezTo>
                      <a:pt x="58" y="115"/>
                      <a:pt x="58" y="115"/>
                      <a:pt x="58" y="115"/>
                    </a:cubicBezTo>
                    <a:cubicBezTo>
                      <a:pt x="60" y="117"/>
                      <a:pt x="60" y="117"/>
                      <a:pt x="60" y="117"/>
                    </a:cubicBezTo>
                    <a:lnTo>
                      <a:pt x="59" y="121"/>
                    </a:lnTo>
                    <a:close/>
                    <a:moveTo>
                      <a:pt x="77" y="165"/>
                    </a:moveTo>
                    <a:cubicBezTo>
                      <a:pt x="72" y="160"/>
                      <a:pt x="72" y="160"/>
                      <a:pt x="72" y="160"/>
                    </a:cubicBezTo>
                    <a:cubicBezTo>
                      <a:pt x="69" y="160"/>
                      <a:pt x="69" y="160"/>
                      <a:pt x="69" y="160"/>
                    </a:cubicBezTo>
                    <a:cubicBezTo>
                      <a:pt x="75" y="165"/>
                      <a:pt x="75" y="165"/>
                      <a:pt x="75" y="165"/>
                    </a:cubicBezTo>
                    <a:cubicBezTo>
                      <a:pt x="78" y="170"/>
                      <a:pt x="78" y="170"/>
                      <a:pt x="78" y="170"/>
                    </a:cubicBezTo>
                    <a:cubicBezTo>
                      <a:pt x="84" y="177"/>
                      <a:pt x="84" y="177"/>
                      <a:pt x="84" y="177"/>
                    </a:cubicBezTo>
                    <a:cubicBezTo>
                      <a:pt x="86" y="174"/>
                      <a:pt x="86" y="174"/>
                      <a:pt x="86" y="174"/>
                    </a:cubicBezTo>
                    <a:cubicBezTo>
                      <a:pt x="79" y="169"/>
                      <a:pt x="79" y="169"/>
                      <a:pt x="79" y="169"/>
                    </a:cubicBezTo>
                    <a:lnTo>
                      <a:pt x="77" y="165"/>
                    </a:lnTo>
                    <a:close/>
                    <a:moveTo>
                      <a:pt x="162" y="212"/>
                    </a:moveTo>
                    <a:cubicBezTo>
                      <a:pt x="168" y="210"/>
                      <a:pt x="168" y="210"/>
                      <a:pt x="168" y="210"/>
                    </a:cubicBezTo>
                    <a:cubicBezTo>
                      <a:pt x="169" y="208"/>
                      <a:pt x="169" y="208"/>
                      <a:pt x="169" y="208"/>
                    </a:cubicBezTo>
                    <a:cubicBezTo>
                      <a:pt x="163" y="207"/>
                      <a:pt x="163" y="207"/>
                      <a:pt x="163" y="207"/>
                    </a:cubicBezTo>
                    <a:cubicBezTo>
                      <a:pt x="148" y="205"/>
                      <a:pt x="148" y="205"/>
                      <a:pt x="148" y="205"/>
                    </a:cubicBezTo>
                    <a:cubicBezTo>
                      <a:pt x="148" y="208"/>
                      <a:pt x="148" y="208"/>
                      <a:pt x="148" y="208"/>
                    </a:cubicBezTo>
                    <a:cubicBezTo>
                      <a:pt x="144" y="209"/>
                      <a:pt x="144" y="209"/>
                      <a:pt x="144" y="209"/>
                    </a:cubicBezTo>
                    <a:cubicBezTo>
                      <a:pt x="159" y="214"/>
                      <a:pt x="159" y="214"/>
                      <a:pt x="159" y="214"/>
                    </a:cubicBezTo>
                    <a:lnTo>
                      <a:pt x="162" y="212"/>
                    </a:lnTo>
                    <a:close/>
                    <a:moveTo>
                      <a:pt x="141" y="204"/>
                    </a:moveTo>
                    <a:cubicBezTo>
                      <a:pt x="133" y="202"/>
                      <a:pt x="136" y="206"/>
                      <a:pt x="136" y="206"/>
                    </a:cubicBezTo>
                    <a:cubicBezTo>
                      <a:pt x="140" y="208"/>
                      <a:pt x="147" y="206"/>
                      <a:pt x="141" y="204"/>
                    </a:cubicBezTo>
                    <a:close/>
                    <a:moveTo>
                      <a:pt x="182" y="222"/>
                    </a:moveTo>
                    <a:cubicBezTo>
                      <a:pt x="180" y="220"/>
                      <a:pt x="180" y="220"/>
                      <a:pt x="180" y="220"/>
                    </a:cubicBezTo>
                    <a:cubicBezTo>
                      <a:pt x="163" y="219"/>
                      <a:pt x="163" y="219"/>
                      <a:pt x="163" y="219"/>
                    </a:cubicBezTo>
                    <a:cubicBezTo>
                      <a:pt x="161" y="217"/>
                      <a:pt x="161" y="217"/>
                      <a:pt x="161" y="217"/>
                    </a:cubicBezTo>
                    <a:cubicBezTo>
                      <a:pt x="154" y="214"/>
                      <a:pt x="154" y="214"/>
                      <a:pt x="154" y="214"/>
                    </a:cubicBezTo>
                    <a:cubicBezTo>
                      <a:pt x="152" y="216"/>
                      <a:pt x="152" y="216"/>
                      <a:pt x="152" y="216"/>
                    </a:cubicBezTo>
                    <a:cubicBezTo>
                      <a:pt x="153" y="218"/>
                      <a:pt x="153" y="218"/>
                      <a:pt x="153" y="218"/>
                    </a:cubicBezTo>
                    <a:cubicBezTo>
                      <a:pt x="149" y="218"/>
                      <a:pt x="149" y="218"/>
                      <a:pt x="149" y="218"/>
                    </a:cubicBezTo>
                    <a:cubicBezTo>
                      <a:pt x="146" y="221"/>
                      <a:pt x="146" y="221"/>
                      <a:pt x="146" y="221"/>
                    </a:cubicBezTo>
                    <a:cubicBezTo>
                      <a:pt x="159" y="223"/>
                      <a:pt x="159" y="223"/>
                      <a:pt x="159" y="223"/>
                    </a:cubicBezTo>
                    <a:lnTo>
                      <a:pt x="182" y="222"/>
                    </a:lnTo>
                    <a:close/>
                    <a:moveTo>
                      <a:pt x="135" y="227"/>
                    </a:moveTo>
                    <a:cubicBezTo>
                      <a:pt x="129" y="229"/>
                      <a:pt x="129" y="229"/>
                      <a:pt x="129" y="229"/>
                    </a:cubicBezTo>
                    <a:cubicBezTo>
                      <a:pt x="129" y="229"/>
                      <a:pt x="131" y="232"/>
                      <a:pt x="138" y="230"/>
                    </a:cubicBezTo>
                    <a:cubicBezTo>
                      <a:pt x="144" y="228"/>
                      <a:pt x="143" y="225"/>
                      <a:pt x="135" y="227"/>
                    </a:cubicBezTo>
                    <a:close/>
                    <a:moveTo>
                      <a:pt x="170" y="243"/>
                    </a:moveTo>
                    <a:cubicBezTo>
                      <a:pt x="170" y="243"/>
                      <a:pt x="163" y="248"/>
                      <a:pt x="171" y="246"/>
                    </a:cubicBezTo>
                    <a:cubicBezTo>
                      <a:pt x="177" y="246"/>
                      <a:pt x="179" y="243"/>
                      <a:pt x="170" y="243"/>
                    </a:cubicBezTo>
                    <a:close/>
                    <a:moveTo>
                      <a:pt x="169" y="233"/>
                    </a:moveTo>
                    <a:cubicBezTo>
                      <a:pt x="160" y="229"/>
                      <a:pt x="160" y="229"/>
                      <a:pt x="160" y="229"/>
                    </a:cubicBezTo>
                    <a:cubicBezTo>
                      <a:pt x="159" y="232"/>
                      <a:pt x="159" y="232"/>
                      <a:pt x="159" y="232"/>
                    </a:cubicBezTo>
                    <a:cubicBezTo>
                      <a:pt x="162" y="233"/>
                      <a:pt x="162" y="233"/>
                      <a:pt x="162" y="233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69" y="237"/>
                      <a:pt x="169" y="237"/>
                      <a:pt x="169" y="237"/>
                    </a:cubicBezTo>
                    <a:cubicBezTo>
                      <a:pt x="174" y="235"/>
                      <a:pt x="174" y="235"/>
                      <a:pt x="174" y="235"/>
                    </a:cubicBezTo>
                    <a:cubicBezTo>
                      <a:pt x="184" y="236"/>
                      <a:pt x="184" y="236"/>
                      <a:pt x="184" y="236"/>
                    </a:cubicBezTo>
                    <a:cubicBezTo>
                      <a:pt x="186" y="235"/>
                      <a:pt x="186" y="235"/>
                      <a:pt x="186" y="235"/>
                    </a:cubicBezTo>
                    <a:cubicBezTo>
                      <a:pt x="176" y="230"/>
                      <a:pt x="176" y="230"/>
                      <a:pt x="176" y="230"/>
                    </a:cubicBezTo>
                    <a:lnTo>
                      <a:pt x="169" y="233"/>
                    </a:lnTo>
                    <a:close/>
                    <a:moveTo>
                      <a:pt x="194" y="243"/>
                    </a:moveTo>
                    <a:cubicBezTo>
                      <a:pt x="213" y="246"/>
                      <a:pt x="213" y="246"/>
                      <a:pt x="213" y="246"/>
                    </a:cubicBezTo>
                    <a:cubicBezTo>
                      <a:pt x="213" y="244"/>
                      <a:pt x="213" y="244"/>
                      <a:pt x="213" y="244"/>
                    </a:cubicBezTo>
                    <a:cubicBezTo>
                      <a:pt x="195" y="240"/>
                      <a:pt x="195" y="240"/>
                      <a:pt x="195" y="240"/>
                    </a:cubicBezTo>
                    <a:lnTo>
                      <a:pt x="194" y="243"/>
                    </a:lnTo>
                    <a:close/>
                    <a:moveTo>
                      <a:pt x="71" y="155"/>
                    </a:moveTo>
                    <a:cubicBezTo>
                      <a:pt x="67" y="153"/>
                      <a:pt x="65" y="156"/>
                      <a:pt x="65" y="156"/>
                    </a:cubicBezTo>
                    <a:cubicBezTo>
                      <a:pt x="71" y="158"/>
                      <a:pt x="74" y="157"/>
                      <a:pt x="71" y="155"/>
                    </a:cubicBezTo>
                    <a:close/>
                    <a:moveTo>
                      <a:pt x="65" y="150"/>
                    </a:moveTo>
                    <a:cubicBezTo>
                      <a:pt x="62" y="150"/>
                      <a:pt x="60" y="151"/>
                      <a:pt x="63" y="153"/>
                    </a:cubicBezTo>
                    <a:cubicBezTo>
                      <a:pt x="63" y="153"/>
                      <a:pt x="67" y="151"/>
                      <a:pt x="65" y="150"/>
                    </a:cubicBezTo>
                    <a:close/>
                    <a:moveTo>
                      <a:pt x="77" y="153"/>
                    </a:moveTo>
                    <a:cubicBezTo>
                      <a:pt x="80" y="153"/>
                      <a:pt x="84" y="149"/>
                      <a:pt x="79" y="149"/>
                    </a:cubicBezTo>
                    <a:cubicBezTo>
                      <a:pt x="75" y="148"/>
                      <a:pt x="77" y="153"/>
                      <a:pt x="77" y="153"/>
                    </a:cubicBezTo>
                    <a:close/>
                    <a:moveTo>
                      <a:pt x="65" y="146"/>
                    </a:moveTo>
                    <a:cubicBezTo>
                      <a:pt x="69" y="147"/>
                      <a:pt x="71" y="145"/>
                      <a:pt x="67" y="144"/>
                    </a:cubicBezTo>
                    <a:cubicBezTo>
                      <a:pt x="65" y="143"/>
                      <a:pt x="65" y="146"/>
                      <a:pt x="65" y="146"/>
                    </a:cubicBezTo>
                    <a:close/>
                    <a:moveTo>
                      <a:pt x="61" y="143"/>
                    </a:moveTo>
                    <a:cubicBezTo>
                      <a:pt x="60" y="142"/>
                      <a:pt x="57" y="145"/>
                      <a:pt x="59" y="146"/>
                    </a:cubicBezTo>
                    <a:cubicBezTo>
                      <a:pt x="59" y="146"/>
                      <a:pt x="63" y="144"/>
                      <a:pt x="61" y="143"/>
                    </a:cubicBezTo>
                    <a:close/>
                    <a:moveTo>
                      <a:pt x="91" y="179"/>
                    </a:moveTo>
                    <a:cubicBezTo>
                      <a:pt x="88" y="178"/>
                      <a:pt x="91" y="182"/>
                      <a:pt x="91" y="182"/>
                    </a:cubicBezTo>
                    <a:cubicBezTo>
                      <a:pt x="96" y="185"/>
                      <a:pt x="95" y="181"/>
                      <a:pt x="91" y="179"/>
                    </a:cubicBezTo>
                    <a:close/>
                    <a:moveTo>
                      <a:pt x="81" y="164"/>
                    </a:moveTo>
                    <a:cubicBezTo>
                      <a:pt x="88" y="171"/>
                      <a:pt x="88" y="167"/>
                      <a:pt x="83" y="163"/>
                    </a:cubicBezTo>
                    <a:cubicBezTo>
                      <a:pt x="78" y="158"/>
                      <a:pt x="81" y="164"/>
                      <a:pt x="81" y="16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3" name="Albani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994309" y="4768168"/>
                <a:ext cx="283156" cy="541901"/>
              </a:xfrm>
              <a:custGeom>
                <a:avLst/>
                <a:gdLst/>
                <a:ahLst/>
                <a:cxnLst>
                  <a:cxn ang="0">
                    <a:pos x="95" y="110"/>
                  </a:cxn>
                  <a:cxn ang="0">
                    <a:pos x="89" y="106"/>
                  </a:cxn>
                  <a:cxn ang="0">
                    <a:pos x="78" y="98"/>
                  </a:cxn>
                  <a:cxn ang="0">
                    <a:pos x="66" y="83"/>
                  </a:cxn>
                  <a:cxn ang="0">
                    <a:pos x="63" y="69"/>
                  </a:cxn>
                  <a:cxn ang="0">
                    <a:pos x="66" y="53"/>
                  </a:cxn>
                  <a:cxn ang="0">
                    <a:pos x="61" y="24"/>
                  </a:cxn>
                  <a:cxn ang="0">
                    <a:pos x="43" y="9"/>
                  </a:cxn>
                  <a:cxn ang="0">
                    <a:pos x="28" y="12"/>
                  </a:cxn>
                  <a:cxn ang="0">
                    <a:pos x="21" y="1"/>
                  </a:cxn>
                  <a:cxn ang="0">
                    <a:pos x="0" y="35"/>
                  </a:cxn>
                  <a:cxn ang="0">
                    <a:pos x="5" y="46"/>
                  </a:cxn>
                  <a:cxn ang="0">
                    <a:pos x="14" y="55"/>
                  </a:cxn>
                  <a:cxn ang="0">
                    <a:pos x="21" y="69"/>
                  </a:cxn>
                  <a:cxn ang="0">
                    <a:pos x="13" y="71"/>
                  </a:cxn>
                  <a:cxn ang="0">
                    <a:pos x="11" y="85"/>
                  </a:cxn>
                  <a:cxn ang="0">
                    <a:pos x="18" y="92"/>
                  </a:cxn>
                  <a:cxn ang="0">
                    <a:pos x="16" y="108"/>
                  </a:cxn>
                  <a:cxn ang="0">
                    <a:pos x="14" y="113"/>
                  </a:cxn>
                  <a:cxn ang="0">
                    <a:pos x="15" y="119"/>
                  </a:cxn>
                  <a:cxn ang="0">
                    <a:pos x="12" y="130"/>
                  </a:cxn>
                  <a:cxn ang="0">
                    <a:pos x="19" y="138"/>
                  </a:cxn>
                  <a:cxn ang="0">
                    <a:pos x="16" y="141"/>
                  </a:cxn>
                  <a:cxn ang="0">
                    <a:pos x="19" y="153"/>
                  </a:cxn>
                  <a:cxn ang="0">
                    <a:pos x="16" y="146"/>
                  </a:cxn>
                  <a:cxn ang="0">
                    <a:pos x="12" y="147"/>
                  </a:cxn>
                  <a:cxn ang="0">
                    <a:pos x="33" y="164"/>
                  </a:cxn>
                  <a:cxn ang="0">
                    <a:pos x="41" y="169"/>
                  </a:cxn>
                  <a:cxn ang="0">
                    <a:pos x="47" y="179"/>
                  </a:cxn>
                  <a:cxn ang="0">
                    <a:pos x="52" y="190"/>
                  </a:cxn>
                  <a:cxn ang="0">
                    <a:pos x="67" y="187"/>
                  </a:cxn>
                  <a:cxn ang="0">
                    <a:pos x="72" y="181"/>
                  </a:cxn>
                  <a:cxn ang="0">
                    <a:pos x="66" y="171"/>
                  </a:cxn>
                  <a:cxn ang="0">
                    <a:pos x="73" y="163"/>
                  </a:cxn>
                  <a:cxn ang="0">
                    <a:pos x="85" y="149"/>
                  </a:cxn>
                  <a:cxn ang="0">
                    <a:pos x="90" y="135"/>
                  </a:cxn>
                  <a:cxn ang="0">
                    <a:pos x="100" y="125"/>
                  </a:cxn>
                </a:cxnLst>
                <a:rect l="0" t="0" r="r" b="b"/>
                <a:pathLst>
                  <a:path w="100" h="192">
                    <a:moveTo>
                      <a:pt x="95" y="117"/>
                    </a:moveTo>
                    <a:cubicBezTo>
                      <a:pt x="95" y="110"/>
                      <a:pt x="95" y="110"/>
                      <a:pt x="95" y="110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89" y="106"/>
                      <a:pt x="89" y="106"/>
                      <a:pt x="89" y="106"/>
                    </a:cubicBezTo>
                    <a:cubicBezTo>
                      <a:pt x="82" y="110"/>
                      <a:pt x="82" y="110"/>
                      <a:pt x="82" y="110"/>
                    </a:cubicBezTo>
                    <a:cubicBezTo>
                      <a:pt x="78" y="98"/>
                      <a:pt x="78" y="98"/>
                      <a:pt x="78" y="98"/>
                    </a:cubicBezTo>
                    <a:cubicBezTo>
                      <a:pt x="73" y="97"/>
                      <a:pt x="73" y="97"/>
                      <a:pt x="73" y="97"/>
                    </a:cubicBezTo>
                    <a:cubicBezTo>
                      <a:pt x="66" y="83"/>
                      <a:pt x="66" y="83"/>
                      <a:pt x="66" y="83"/>
                    </a:cubicBezTo>
                    <a:cubicBezTo>
                      <a:pt x="70" y="78"/>
                      <a:pt x="70" y="78"/>
                      <a:pt x="70" y="78"/>
                    </a:cubicBezTo>
                    <a:cubicBezTo>
                      <a:pt x="63" y="69"/>
                      <a:pt x="63" y="69"/>
                      <a:pt x="63" y="69"/>
                    </a:cubicBezTo>
                    <a:cubicBezTo>
                      <a:pt x="68" y="65"/>
                      <a:pt x="68" y="65"/>
                      <a:pt x="68" y="65"/>
                    </a:cubicBezTo>
                    <a:cubicBezTo>
                      <a:pt x="66" y="53"/>
                      <a:pt x="66" y="53"/>
                      <a:pt x="66" y="53"/>
                    </a:cubicBezTo>
                    <a:cubicBezTo>
                      <a:pt x="68" y="39"/>
                      <a:pt x="68" y="39"/>
                      <a:pt x="68" y="39"/>
                    </a:cubicBezTo>
                    <a:cubicBezTo>
                      <a:pt x="68" y="39"/>
                      <a:pt x="65" y="29"/>
                      <a:pt x="61" y="24"/>
                    </a:cubicBezTo>
                    <a:cubicBezTo>
                      <a:pt x="57" y="20"/>
                      <a:pt x="46" y="19"/>
                      <a:pt x="46" y="19"/>
                    </a:cubicBezTo>
                    <a:cubicBezTo>
                      <a:pt x="46" y="19"/>
                      <a:pt x="45" y="12"/>
                      <a:pt x="43" y="9"/>
                    </a:cubicBezTo>
                    <a:cubicBezTo>
                      <a:pt x="41" y="7"/>
                      <a:pt x="38" y="5"/>
                      <a:pt x="38" y="5"/>
                    </a:cubicBezTo>
                    <a:cubicBezTo>
                      <a:pt x="28" y="12"/>
                      <a:pt x="28" y="12"/>
                      <a:pt x="28" y="12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1" y="1"/>
                      <a:pt x="21" y="1"/>
                      <a:pt x="21" y="1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6" y="54"/>
                      <a:pt x="6" y="54"/>
                      <a:pt x="6" y="54"/>
                    </a:cubicBezTo>
                    <a:cubicBezTo>
                      <a:pt x="6" y="54"/>
                      <a:pt x="9" y="54"/>
                      <a:pt x="14" y="55"/>
                    </a:cubicBezTo>
                    <a:cubicBezTo>
                      <a:pt x="19" y="56"/>
                      <a:pt x="17" y="60"/>
                      <a:pt x="17" y="60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3" y="71"/>
                      <a:pt x="13" y="71"/>
                      <a:pt x="13" y="71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6" y="80"/>
                      <a:pt x="11" y="80"/>
                      <a:pt x="11" y="85"/>
                    </a:cubicBezTo>
                    <a:cubicBezTo>
                      <a:pt x="12" y="91"/>
                      <a:pt x="13" y="91"/>
                      <a:pt x="13" y="91"/>
                    </a:cubicBezTo>
                    <a:cubicBezTo>
                      <a:pt x="13" y="91"/>
                      <a:pt x="18" y="90"/>
                      <a:pt x="18" y="92"/>
                    </a:cubicBezTo>
                    <a:cubicBezTo>
                      <a:pt x="18" y="94"/>
                      <a:pt x="14" y="100"/>
                      <a:pt x="14" y="100"/>
                    </a:cubicBezTo>
                    <a:cubicBezTo>
                      <a:pt x="16" y="108"/>
                      <a:pt x="16" y="108"/>
                      <a:pt x="16" y="108"/>
                    </a:cubicBezTo>
                    <a:cubicBezTo>
                      <a:pt x="16" y="108"/>
                      <a:pt x="23" y="111"/>
                      <a:pt x="21" y="113"/>
                    </a:cubicBezTo>
                    <a:cubicBezTo>
                      <a:pt x="18" y="115"/>
                      <a:pt x="14" y="113"/>
                      <a:pt x="14" y="113"/>
                    </a:cubicBezTo>
                    <a:cubicBezTo>
                      <a:pt x="12" y="116"/>
                      <a:pt x="12" y="116"/>
                      <a:pt x="12" y="116"/>
                    </a:cubicBezTo>
                    <a:cubicBezTo>
                      <a:pt x="15" y="119"/>
                      <a:pt x="15" y="119"/>
                      <a:pt x="15" y="119"/>
                    </a:cubicBezTo>
                    <a:cubicBezTo>
                      <a:pt x="14" y="127"/>
                      <a:pt x="14" y="127"/>
                      <a:pt x="14" y="127"/>
                    </a:cubicBezTo>
                    <a:cubicBezTo>
                      <a:pt x="12" y="130"/>
                      <a:pt x="12" y="130"/>
                      <a:pt x="12" y="130"/>
                    </a:cubicBezTo>
                    <a:cubicBezTo>
                      <a:pt x="14" y="137"/>
                      <a:pt x="14" y="137"/>
                      <a:pt x="14" y="137"/>
                    </a:cubicBezTo>
                    <a:cubicBezTo>
                      <a:pt x="14" y="137"/>
                      <a:pt x="19" y="134"/>
                      <a:pt x="19" y="138"/>
                    </a:cubicBezTo>
                    <a:cubicBezTo>
                      <a:pt x="19" y="140"/>
                      <a:pt x="16" y="140"/>
                      <a:pt x="16" y="140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41"/>
                      <a:pt x="23" y="142"/>
                      <a:pt x="22" y="147"/>
                    </a:cubicBezTo>
                    <a:cubicBezTo>
                      <a:pt x="21" y="154"/>
                      <a:pt x="19" y="153"/>
                      <a:pt x="19" y="153"/>
                    </a:cubicBezTo>
                    <a:cubicBezTo>
                      <a:pt x="19" y="153"/>
                      <a:pt x="17" y="152"/>
                      <a:pt x="17" y="150"/>
                    </a:cubicBezTo>
                    <a:cubicBezTo>
                      <a:pt x="16" y="148"/>
                      <a:pt x="16" y="146"/>
                      <a:pt x="16" y="146"/>
                    </a:cubicBezTo>
                    <a:cubicBezTo>
                      <a:pt x="12" y="145"/>
                      <a:pt x="12" y="145"/>
                      <a:pt x="12" y="145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6" y="156"/>
                      <a:pt x="21" y="159"/>
                    </a:cubicBezTo>
                    <a:cubicBezTo>
                      <a:pt x="25" y="162"/>
                      <a:pt x="30" y="164"/>
                      <a:pt x="33" y="164"/>
                    </a:cubicBezTo>
                    <a:cubicBezTo>
                      <a:pt x="38" y="164"/>
                      <a:pt x="38" y="164"/>
                      <a:pt x="38" y="164"/>
                    </a:cubicBezTo>
                    <a:cubicBezTo>
                      <a:pt x="41" y="169"/>
                      <a:pt x="41" y="169"/>
                      <a:pt x="41" y="169"/>
                    </a:cubicBezTo>
                    <a:cubicBezTo>
                      <a:pt x="46" y="169"/>
                      <a:pt x="46" y="169"/>
                      <a:pt x="46" y="169"/>
                    </a:cubicBezTo>
                    <a:cubicBezTo>
                      <a:pt x="47" y="179"/>
                      <a:pt x="47" y="179"/>
                      <a:pt x="47" y="179"/>
                    </a:cubicBezTo>
                    <a:cubicBezTo>
                      <a:pt x="52" y="180"/>
                      <a:pt x="52" y="180"/>
                      <a:pt x="52" y="180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52" y="190"/>
                      <a:pt x="59" y="192"/>
                      <a:pt x="60" y="192"/>
                    </a:cubicBezTo>
                    <a:cubicBezTo>
                      <a:pt x="62" y="192"/>
                      <a:pt x="67" y="187"/>
                      <a:pt x="67" y="187"/>
                    </a:cubicBezTo>
                    <a:cubicBezTo>
                      <a:pt x="67" y="187"/>
                      <a:pt x="66" y="184"/>
                      <a:pt x="67" y="181"/>
                    </a:cubicBezTo>
                    <a:cubicBezTo>
                      <a:pt x="67" y="180"/>
                      <a:pt x="72" y="181"/>
                      <a:pt x="72" y="181"/>
                    </a:cubicBezTo>
                    <a:cubicBezTo>
                      <a:pt x="71" y="177"/>
                      <a:pt x="71" y="177"/>
                      <a:pt x="71" y="177"/>
                    </a:cubicBezTo>
                    <a:cubicBezTo>
                      <a:pt x="71" y="177"/>
                      <a:pt x="65" y="174"/>
                      <a:pt x="66" y="171"/>
                    </a:cubicBezTo>
                    <a:cubicBezTo>
                      <a:pt x="67" y="166"/>
                      <a:pt x="71" y="168"/>
                      <a:pt x="71" y="168"/>
                    </a:cubicBezTo>
                    <a:cubicBezTo>
                      <a:pt x="71" y="168"/>
                      <a:pt x="70" y="164"/>
                      <a:pt x="73" y="163"/>
                    </a:cubicBezTo>
                    <a:cubicBezTo>
                      <a:pt x="76" y="162"/>
                      <a:pt x="78" y="165"/>
                      <a:pt x="83" y="161"/>
                    </a:cubicBezTo>
                    <a:cubicBezTo>
                      <a:pt x="88" y="156"/>
                      <a:pt x="85" y="149"/>
                      <a:pt x="85" y="149"/>
                    </a:cubicBezTo>
                    <a:cubicBezTo>
                      <a:pt x="89" y="144"/>
                      <a:pt x="89" y="144"/>
                      <a:pt x="89" y="144"/>
                    </a:cubicBezTo>
                    <a:cubicBezTo>
                      <a:pt x="89" y="144"/>
                      <a:pt x="87" y="138"/>
                      <a:pt x="90" y="135"/>
                    </a:cubicBezTo>
                    <a:cubicBezTo>
                      <a:pt x="92" y="134"/>
                      <a:pt x="95" y="134"/>
                      <a:pt x="95" y="134"/>
                    </a:cubicBezTo>
                    <a:cubicBezTo>
                      <a:pt x="95" y="134"/>
                      <a:pt x="100" y="129"/>
                      <a:pt x="100" y="125"/>
                    </a:cubicBezTo>
                    <a:cubicBezTo>
                      <a:pt x="99" y="121"/>
                      <a:pt x="95" y="117"/>
                      <a:pt x="95" y="117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4" name="Mazedoni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5173315" y="4779559"/>
                <a:ext cx="354758" cy="297801"/>
              </a:xfrm>
              <a:custGeom>
                <a:avLst/>
                <a:gdLst/>
                <a:ahLst/>
                <a:cxnLst>
                  <a:cxn ang="0">
                    <a:pos x="122" y="42"/>
                  </a:cxn>
                  <a:cxn ang="0">
                    <a:pos x="125" y="33"/>
                  </a:cxn>
                  <a:cxn ang="0">
                    <a:pos x="116" y="29"/>
                  </a:cxn>
                  <a:cxn ang="0">
                    <a:pos x="115" y="16"/>
                  </a:cxn>
                  <a:cxn ang="0">
                    <a:pos x="105" y="16"/>
                  </a:cxn>
                  <a:cxn ang="0">
                    <a:pos x="95" y="9"/>
                  </a:cxn>
                  <a:cxn ang="0">
                    <a:pos x="86" y="3"/>
                  </a:cxn>
                  <a:cxn ang="0">
                    <a:pos x="82" y="0"/>
                  </a:cxn>
                  <a:cxn ang="0">
                    <a:pos x="75" y="7"/>
                  </a:cxn>
                  <a:cxn ang="0">
                    <a:pos x="65" y="5"/>
                  </a:cxn>
                  <a:cxn ang="0">
                    <a:pos x="53" y="12"/>
                  </a:cxn>
                  <a:cxn ang="0">
                    <a:pos x="43" y="12"/>
                  </a:cxn>
                  <a:cxn ang="0">
                    <a:pos x="35" y="27"/>
                  </a:cxn>
                  <a:cxn ang="0">
                    <a:pos x="26" y="18"/>
                  </a:cxn>
                  <a:cxn ang="0">
                    <a:pos x="21" y="24"/>
                  </a:cxn>
                  <a:cxn ang="0">
                    <a:pos x="11" y="29"/>
                  </a:cxn>
                  <a:cxn ang="0">
                    <a:pos x="13" y="43"/>
                  </a:cxn>
                  <a:cxn ang="0">
                    <a:pos x="3" y="49"/>
                  </a:cxn>
                  <a:cxn ang="0">
                    <a:pos x="5" y="61"/>
                  </a:cxn>
                  <a:cxn ang="0">
                    <a:pos x="0" y="65"/>
                  </a:cxn>
                  <a:cxn ang="0">
                    <a:pos x="7" y="74"/>
                  </a:cxn>
                  <a:cxn ang="0">
                    <a:pos x="3" y="79"/>
                  </a:cxn>
                  <a:cxn ang="0">
                    <a:pos x="10" y="93"/>
                  </a:cxn>
                  <a:cxn ang="0">
                    <a:pos x="15" y="94"/>
                  </a:cxn>
                  <a:cxn ang="0">
                    <a:pos x="19" y="106"/>
                  </a:cxn>
                  <a:cxn ang="0">
                    <a:pos x="26" y="102"/>
                  </a:cxn>
                  <a:cxn ang="0">
                    <a:pos x="31" y="103"/>
                  </a:cxn>
                  <a:cxn ang="0">
                    <a:pos x="32" y="106"/>
                  </a:cxn>
                  <a:cxn ang="0">
                    <a:pos x="48" y="105"/>
                  </a:cxn>
                  <a:cxn ang="0">
                    <a:pos x="57" y="99"/>
                  </a:cxn>
                  <a:cxn ang="0">
                    <a:pos x="63" y="101"/>
                  </a:cxn>
                  <a:cxn ang="0">
                    <a:pos x="73" y="95"/>
                  </a:cxn>
                  <a:cxn ang="0">
                    <a:pos x="76" y="83"/>
                  </a:cxn>
                  <a:cxn ang="0">
                    <a:pos x="82" y="79"/>
                  </a:cxn>
                  <a:cxn ang="0">
                    <a:pos x="89" y="80"/>
                  </a:cxn>
                  <a:cxn ang="0">
                    <a:pos x="93" y="77"/>
                  </a:cxn>
                  <a:cxn ang="0">
                    <a:pos x="112" y="78"/>
                  </a:cxn>
                  <a:cxn ang="0">
                    <a:pos x="113" y="74"/>
                  </a:cxn>
                  <a:cxn ang="0">
                    <a:pos x="117" y="77"/>
                  </a:cxn>
                  <a:cxn ang="0">
                    <a:pos x="117" y="63"/>
                  </a:cxn>
                  <a:cxn ang="0">
                    <a:pos x="126" y="62"/>
                  </a:cxn>
                  <a:cxn ang="0">
                    <a:pos x="122" y="42"/>
                  </a:cxn>
                </a:cxnLst>
                <a:rect l="0" t="0" r="r" b="b"/>
                <a:pathLst>
                  <a:path w="126" h="106">
                    <a:moveTo>
                      <a:pt x="122" y="42"/>
                    </a:moveTo>
                    <a:cubicBezTo>
                      <a:pt x="125" y="33"/>
                      <a:pt x="125" y="33"/>
                      <a:pt x="125" y="33"/>
                    </a:cubicBezTo>
                    <a:cubicBezTo>
                      <a:pt x="116" y="29"/>
                      <a:pt x="116" y="29"/>
                      <a:pt x="116" y="29"/>
                    </a:cubicBezTo>
                    <a:cubicBezTo>
                      <a:pt x="115" y="16"/>
                      <a:pt x="115" y="16"/>
                      <a:pt x="115" y="16"/>
                    </a:cubicBezTo>
                    <a:cubicBezTo>
                      <a:pt x="105" y="16"/>
                      <a:pt x="105" y="16"/>
                      <a:pt x="105" y="16"/>
                    </a:cubicBezTo>
                    <a:cubicBezTo>
                      <a:pt x="100" y="17"/>
                      <a:pt x="97" y="12"/>
                      <a:pt x="95" y="9"/>
                    </a:cubicBezTo>
                    <a:cubicBezTo>
                      <a:pt x="93" y="7"/>
                      <a:pt x="86" y="3"/>
                      <a:pt x="86" y="3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75" y="7"/>
                      <a:pt x="75" y="7"/>
                      <a:pt x="75" y="7"/>
                    </a:cubicBezTo>
                    <a:cubicBezTo>
                      <a:pt x="65" y="5"/>
                      <a:pt x="65" y="5"/>
                      <a:pt x="65" y="5"/>
                    </a:cubicBezTo>
                    <a:cubicBezTo>
                      <a:pt x="65" y="5"/>
                      <a:pt x="58" y="12"/>
                      <a:pt x="53" y="12"/>
                    </a:cubicBezTo>
                    <a:cubicBezTo>
                      <a:pt x="49" y="13"/>
                      <a:pt x="43" y="12"/>
                      <a:pt x="43" y="12"/>
                    </a:cubicBezTo>
                    <a:cubicBezTo>
                      <a:pt x="35" y="27"/>
                      <a:pt x="35" y="27"/>
                      <a:pt x="35" y="27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1" y="24"/>
                      <a:pt x="21" y="24"/>
                      <a:pt x="21" y="24"/>
                    </a:cubicBezTo>
                    <a:cubicBezTo>
                      <a:pt x="21" y="24"/>
                      <a:pt x="14" y="24"/>
                      <a:pt x="11" y="29"/>
                    </a:cubicBezTo>
                    <a:cubicBezTo>
                      <a:pt x="9" y="33"/>
                      <a:pt x="13" y="43"/>
                      <a:pt x="13" y="43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7" y="74"/>
                      <a:pt x="7" y="74"/>
                      <a:pt x="7" y="74"/>
                    </a:cubicBezTo>
                    <a:cubicBezTo>
                      <a:pt x="3" y="79"/>
                      <a:pt x="3" y="79"/>
                      <a:pt x="3" y="79"/>
                    </a:cubicBezTo>
                    <a:cubicBezTo>
                      <a:pt x="10" y="93"/>
                      <a:pt x="10" y="93"/>
                      <a:pt x="10" y="93"/>
                    </a:cubicBezTo>
                    <a:cubicBezTo>
                      <a:pt x="15" y="94"/>
                      <a:pt x="15" y="94"/>
                      <a:pt x="15" y="94"/>
                    </a:cubicBezTo>
                    <a:cubicBezTo>
                      <a:pt x="19" y="106"/>
                      <a:pt x="19" y="106"/>
                      <a:pt x="19" y="106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31" y="103"/>
                      <a:pt x="31" y="103"/>
                      <a:pt x="31" y="103"/>
                    </a:cubicBezTo>
                    <a:cubicBezTo>
                      <a:pt x="32" y="106"/>
                      <a:pt x="32" y="106"/>
                      <a:pt x="32" y="106"/>
                    </a:cubicBezTo>
                    <a:cubicBezTo>
                      <a:pt x="48" y="105"/>
                      <a:pt x="48" y="105"/>
                      <a:pt x="48" y="105"/>
                    </a:cubicBezTo>
                    <a:cubicBezTo>
                      <a:pt x="48" y="105"/>
                      <a:pt x="53" y="99"/>
                      <a:pt x="57" y="99"/>
                    </a:cubicBezTo>
                    <a:cubicBezTo>
                      <a:pt x="59" y="99"/>
                      <a:pt x="63" y="101"/>
                      <a:pt x="63" y="101"/>
                    </a:cubicBezTo>
                    <a:cubicBezTo>
                      <a:pt x="63" y="101"/>
                      <a:pt x="69" y="97"/>
                      <a:pt x="73" y="95"/>
                    </a:cubicBezTo>
                    <a:cubicBezTo>
                      <a:pt x="76" y="92"/>
                      <a:pt x="74" y="88"/>
                      <a:pt x="76" y="83"/>
                    </a:cubicBezTo>
                    <a:cubicBezTo>
                      <a:pt x="78" y="80"/>
                      <a:pt x="82" y="79"/>
                      <a:pt x="82" y="79"/>
                    </a:cubicBezTo>
                    <a:cubicBezTo>
                      <a:pt x="89" y="80"/>
                      <a:pt x="89" y="80"/>
                      <a:pt x="89" y="80"/>
                    </a:cubicBezTo>
                    <a:cubicBezTo>
                      <a:pt x="93" y="77"/>
                      <a:pt x="93" y="77"/>
                      <a:pt x="93" y="77"/>
                    </a:cubicBezTo>
                    <a:cubicBezTo>
                      <a:pt x="112" y="78"/>
                      <a:pt x="112" y="78"/>
                      <a:pt x="112" y="78"/>
                    </a:cubicBezTo>
                    <a:cubicBezTo>
                      <a:pt x="113" y="74"/>
                      <a:pt x="113" y="74"/>
                      <a:pt x="113" y="74"/>
                    </a:cubicBezTo>
                    <a:cubicBezTo>
                      <a:pt x="117" y="77"/>
                      <a:pt x="117" y="77"/>
                      <a:pt x="117" y="77"/>
                    </a:cubicBezTo>
                    <a:cubicBezTo>
                      <a:pt x="117" y="77"/>
                      <a:pt x="116" y="67"/>
                      <a:pt x="117" y="63"/>
                    </a:cubicBezTo>
                    <a:cubicBezTo>
                      <a:pt x="117" y="60"/>
                      <a:pt x="126" y="62"/>
                      <a:pt x="126" y="62"/>
                    </a:cubicBezTo>
                    <a:lnTo>
                      <a:pt x="122" y="42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5" name="Slowakei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571202" y="3500478"/>
                <a:ext cx="694870" cy="367776"/>
              </a:xfrm>
              <a:custGeom>
                <a:avLst/>
                <a:gdLst/>
                <a:ahLst/>
                <a:cxnLst>
                  <a:cxn ang="0">
                    <a:pos x="221" y="7"/>
                  </a:cxn>
                  <a:cxn ang="0">
                    <a:pos x="202" y="1"/>
                  </a:cxn>
                  <a:cxn ang="0">
                    <a:pos x="179" y="7"/>
                  </a:cxn>
                  <a:cxn ang="0">
                    <a:pos x="165" y="9"/>
                  </a:cxn>
                  <a:cxn ang="0">
                    <a:pos x="141" y="16"/>
                  </a:cxn>
                  <a:cxn ang="0">
                    <a:pos x="130" y="23"/>
                  </a:cxn>
                  <a:cxn ang="0">
                    <a:pos x="125" y="19"/>
                  </a:cxn>
                  <a:cxn ang="0">
                    <a:pos x="116" y="14"/>
                  </a:cxn>
                  <a:cxn ang="0">
                    <a:pos x="113" y="11"/>
                  </a:cxn>
                  <a:cxn ang="0">
                    <a:pos x="102" y="9"/>
                  </a:cxn>
                  <a:cxn ang="0">
                    <a:pos x="96" y="16"/>
                  </a:cxn>
                  <a:cxn ang="0">
                    <a:pos x="86" y="10"/>
                  </a:cxn>
                  <a:cxn ang="0">
                    <a:pos x="76" y="13"/>
                  </a:cxn>
                  <a:cxn ang="0">
                    <a:pos x="64" y="23"/>
                  </a:cxn>
                  <a:cxn ang="0">
                    <a:pos x="51" y="43"/>
                  </a:cxn>
                  <a:cxn ang="0">
                    <a:pos x="43" y="53"/>
                  </a:cxn>
                  <a:cxn ang="0">
                    <a:pos x="14" y="59"/>
                  </a:cxn>
                  <a:cxn ang="0">
                    <a:pos x="4" y="73"/>
                  </a:cxn>
                  <a:cxn ang="0">
                    <a:pos x="0" y="90"/>
                  </a:cxn>
                  <a:cxn ang="0">
                    <a:pos x="9" y="105"/>
                  </a:cxn>
                  <a:cxn ang="0">
                    <a:pos x="14" y="117"/>
                  </a:cxn>
                  <a:cxn ang="0">
                    <a:pos x="37" y="126"/>
                  </a:cxn>
                  <a:cxn ang="0">
                    <a:pos x="56" y="129"/>
                  </a:cxn>
                  <a:cxn ang="0">
                    <a:pos x="76" y="126"/>
                  </a:cxn>
                  <a:cxn ang="0">
                    <a:pos x="93" y="118"/>
                  </a:cxn>
                  <a:cxn ang="0">
                    <a:pos x="102" y="104"/>
                  </a:cxn>
                  <a:cxn ang="0">
                    <a:pos x="123" y="89"/>
                  </a:cxn>
                  <a:cxn ang="0">
                    <a:pos x="155" y="83"/>
                  </a:cxn>
                  <a:cxn ang="0">
                    <a:pos x="185" y="63"/>
                  </a:cxn>
                  <a:cxn ang="0">
                    <a:pos x="210" y="63"/>
                  </a:cxn>
                  <a:cxn ang="0">
                    <a:pos x="225" y="67"/>
                  </a:cxn>
                  <a:cxn ang="0">
                    <a:pos x="232" y="55"/>
                  </a:cxn>
                  <a:cxn ang="0">
                    <a:pos x="241" y="30"/>
                  </a:cxn>
                  <a:cxn ang="0">
                    <a:pos x="222" y="14"/>
                  </a:cxn>
                </a:cxnLst>
                <a:rect l="0" t="0" r="r" b="b"/>
                <a:pathLst>
                  <a:path w="246" h="130">
                    <a:moveTo>
                      <a:pt x="222" y="14"/>
                    </a:moveTo>
                    <a:cubicBezTo>
                      <a:pt x="222" y="14"/>
                      <a:pt x="222" y="9"/>
                      <a:pt x="221" y="7"/>
                    </a:cubicBezTo>
                    <a:cubicBezTo>
                      <a:pt x="220" y="5"/>
                      <a:pt x="208" y="5"/>
                      <a:pt x="208" y="5"/>
                    </a:cubicBezTo>
                    <a:cubicBezTo>
                      <a:pt x="202" y="1"/>
                      <a:pt x="202" y="1"/>
                      <a:pt x="202" y="1"/>
                    </a:cubicBezTo>
                    <a:cubicBezTo>
                      <a:pt x="202" y="1"/>
                      <a:pt x="199" y="0"/>
                      <a:pt x="192" y="1"/>
                    </a:cubicBezTo>
                    <a:cubicBezTo>
                      <a:pt x="184" y="3"/>
                      <a:pt x="179" y="7"/>
                      <a:pt x="179" y="7"/>
                    </a:cubicBezTo>
                    <a:cubicBezTo>
                      <a:pt x="179" y="7"/>
                      <a:pt x="178" y="13"/>
                      <a:pt x="173" y="14"/>
                    </a:cubicBezTo>
                    <a:cubicBezTo>
                      <a:pt x="166" y="15"/>
                      <a:pt x="165" y="9"/>
                      <a:pt x="165" y="9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46" y="10"/>
                      <a:pt x="141" y="16"/>
                      <a:pt x="141" y="16"/>
                    </a:cubicBezTo>
                    <a:cubicBezTo>
                      <a:pt x="138" y="26"/>
                      <a:pt x="138" y="26"/>
                      <a:pt x="138" y="26"/>
                    </a:cubicBezTo>
                    <a:cubicBezTo>
                      <a:pt x="130" y="23"/>
                      <a:pt x="130" y="23"/>
                      <a:pt x="130" y="23"/>
                    </a:cubicBezTo>
                    <a:cubicBezTo>
                      <a:pt x="130" y="23"/>
                      <a:pt x="126" y="26"/>
                      <a:pt x="124" y="26"/>
                    </a:cubicBezTo>
                    <a:cubicBezTo>
                      <a:pt x="120" y="26"/>
                      <a:pt x="125" y="19"/>
                      <a:pt x="125" y="19"/>
                    </a:cubicBezTo>
                    <a:cubicBezTo>
                      <a:pt x="122" y="12"/>
                      <a:pt x="122" y="12"/>
                      <a:pt x="122" y="12"/>
                    </a:cubicBezTo>
                    <a:cubicBezTo>
                      <a:pt x="116" y="14"/>
                      <a:pt x="116" y="14"/>
                      <a:pt x="116" y="14"/>
                    </a:cubicBezTo>
                    <a:cubicBezTo>
                      <a:pt x="117" y="11"/>
                      <a:pt x="117" y="11"/>
                      <a:pt x="117" y="11"/>
                    </a:cubicBezTo>
                    <a:cubicBezTo>
                      <a:pt x="113" y="11"/>
                      <a:pt x="113" y="11"/>
                      <a:pt x="113" y="11"/>
                    </a:cubicBezTo>
                    <a:cubicBezTo>
                      <a:pt x="113" y="11"/>
                      <a:pt x="112" y="4"/>
                      <a:pt x="108" y="3"/>
                    </a:cubicBezTo>
                    <a:cubicBezTo>
                      <a:pt x="103" y="3"/>
                      <a:pt x="102" y="9"/>
                      <a:pt x="102" y="9"/>
                    </a:cubicBezTo>
                    <a:cubicBezTo>
                      <a:pt x="99" y="9"/>
                      <a:pt x="99" y="9"/>
                      <a:pt x="99" y="9"/>
                    </a:cubicBezTo>
                    <a:cubicBezTo>
                      <a:pt x="96" y="16"/>
                      <a:pt x="96" y="16"/>
                      <a:pt x="96" y="16"/>
                    </a:cubicBezTo>
                    <a:cubicBezTo>
                      <a:pt x="86" y="18"/>
                      <a:pt x="86" y="18"/>
                      <a:pt x="86" y="18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3" y="10"/>
                      <a:pt x="83" y="10"/>
                      <a:pt x="83" y="10"/>
                    </a:cubicBezTo>
                    <a:cubicBezTo>
                      <a:pt x="76" y="13"/>
                      <a:pt x="76" y="13"/>
                      <a:pt x="76" y="13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69" y="12"/>
                      <a:pt x="68" y="20"/>
                      <a:pt x="64" y="23"/>
                    </a:cubicBezTo>
                    <a:cubicBezTo>
                      <a:pt x="60" y="26"/>
                      <a:pt x="58" y="24"/>
                      <a:pt x="54" y="27"/>
                    </a:cubicBezTo>
                    <a:cubicBezTo>
                      <a:pt x="52" y="31"/>
                      <a:pt x="54" y="39"/>
                      <a:pt x="51" y="43"/>
                    </a:cubicBezTo>
                    <a:cubicBezTo>
                      <a:pt x="49" y="47"/>
                      <a:pt x="47" y="43"/>
                      <a:pt x="44" y="46"/>
                    </a:cubicBezTo>
                    <a:cubicBezTo>
                      <a:pt x="41" y="50"/>
                      <a:pt x="43" y="53"/>
                      <a:pt x="43" y="53"/>
                    </a:cubicBezTo>
                    <a:cubicBezTo>
                      <a:pt x="30" y="61"/>
                      <a:pt x="30" y="61"/>
                      <a:pt x="30" y="61"/>
                    </a:cubicBezTo>
                    <a:cubicBezTo>
                      <a:pt x="30" y="61"/>
                      <a:pt x="18" y="57"/>
                      <a:pt x="14" y="59"/>
                    </a:cubicBezTo>
                    <a:cubicBezTo>
                      <a:pt x="10" y="61"/>
                      <a:pt x="5" y="69"/>
                      <a:pt x="4" y="72"/>
                    </a:cubicBezTo>
                    <a:cubicBezTo>
                      <a:pt x="4" y="73"/>
                      <a:pt x="4" y="73"/>
                      <a:pt x="4" y="73"/>
                    </a:cubicBezTo>
                    <a:cubicBezTo>
                      <a:pt x="4" y="83"/>
                      <a:pt x="4" y="83"/>
                      <a:pt x="4" y="83"/>
                    </a:cubicBezTo>
                    <a:cubicBezTo>
                      <a:pt x="4" y="83"/>
                      <a:pt x="1" y="85"/>
                      <a:pt x="0" y="90"/>
                    </a:cubicBezTo>
                    <a:cubicBezTo>
                      <a:pt x="0" y="95"/>
                      <a:pt x="7" y="99"/>
                      <a:pt x="7" y="99"/>
                    </a:cubicBezTo>
                    <a:cubicBezTo>
                      <a:pt x="9" y="105"/>
                      <a:pt x="9" y="105"/>
                      <a:pt x="9" y="105"/>
                    </a:cubicBezTo>
                    <a:cubicBezTo>
                      <a:pt x="9" y="105"/>
                      <a:pt x="12" y="109"/>
                      <a:pt x="14" y="113"/>
                    </a:cubicBezTo>
                    <a:cubicBezTo>
                      <a:pt x="14" y="114"/>
                      <a:pt x="15" y="116"/>
                      <a:pt x="14" y="117"/>
                    </a:cubicBezTo>
                    <a:cubicBezTo>
                      <a:pt x="18" y="116"/>
                      <a:pt x="22" y="116"/>
                      <a:pt x="25" y="117"/>
                    </a:cubicBezTo>
                    <a:cubicBezTo>
                      <a:pt x="30" y="118"/>
                      <a:pt x="37" y="126"/>
                      <a:pt x="37" y="126"/>
                    </a:cubicBezTo>
                    <a:cubicBezTo>
                      <a:pt x="37" y="126"/>
                      <a:pt x="41" y="130"/>
                      <a:pt x="46" y="130"/>
                    </a:cubicBezTo>
                    <a:cubicBezTo>
                      <a:pt x="50" y="130"/>
                      <a:pt x="56" y="129"/>
                      <a:pt x="56" y="129"/>
                    </a:cubicBezTo>
                    <a:cubicBezTo>
                      <a:pt x="63" y="129"/>
                      <a:pt x="63" y="129"/>
                      <a:pt x="63" y="129"/>
                    </a:cubicBezTo>
                    <a:cubicBezTo>
                      <a:pt x="76" y="126"/>
                      <a:pt x="76" y="126"/>
                      <a:pt x="76" y="126"/>
                    </a:cubicBezTo>
                    <a:cubicBezTo>
                      <a:pt x="86" y="125"/>
                      <a:pt x="86" y="125"/>
                      <a:pt x="86" y="125"/>
                    </a:cubicBezTo>
                    <a:cubicBezTo>
                      <a:pt x="93" y="118"/>
                      <a:pt x="93" y="118"/>
                      <a:pt x="93" y="118"/>
                    </a:cubicBezTo>
                    <a:cubicBezTo>
                      <a:pt x="93" y="118"/>
                      <a:pt x="86" y="113"/>
                      <a:pt x="90" y="106"/>
                    </a:cubicBezTo>
                    <a:cubicBezTo>
                      <a:pt x="93" y="101"/>
                      <a:pt x="102" y="104"/>
                      <a:pt x="102" y="104"/>
                    </a:cubicBezTo>
                    <a:cubicBezTo>
                      <a:pt x="119" y="98"/>
                      <a:pt x="119" y="98"/>
                      <a:pt x="119" y="98"/>
                    </a:cubicBezTo>
                    <a:cubicBezTo>
                      <a:pt x="119" y="98"/>
                      <a:pt x="118" y="90"/>
                      <a:pt x="123" y="89"/>
                    </a:cubicBezTo>
                    <a:cubicBezTo>
                      <a:pt x="127" y="88"/>
                      <a:pt x="138" y="94"/>
                      <a:pt x="138" y="94"/>
                    </a:cubicBezTo>
                    <a:cubicBezTo>
                      <a:pt x="138" y="94"/>
                      <a:pt x="150" y="87"/>
                      <a:pt x="155" y="83"/>
                    </a:cubicBezTo>
                    <a:cubicBezTo>
                      <a:pt x="159" y="79"/>
                      <a:pt x="158" y="69"/>
                      <a:pt x="163" y="66"/>
                    </a:cubicBezTo>
                    <a:cubicBezTo>
                      <a:pt x="168" y="62"/>
                      <a:pt x="176" y="61"/>
                      <a:pt x="185" y="63"/>
                    </a:cubicBezTo>
                    <a:cubicBezTo>
                      <a:pt x="194" y="67"/>
                      <a:pt x="201" y="58"/>
                      <a:pt x="201" y="58"/>
                    </a:cubicBezTo>
                    <a:cubicBezTo>
                      <a:pt x="210" y="63"/>
                      <a:pt x="210" y="63"/>
                      <a:pt x="210" y="63"/>
                    </a:cubicBezTo>
                    <a:cubicBezTo>
                      <a:pt x="210" y="63"/>
                      <a:pt x="211" y="71"/>
                      <a:pt x="216" y="72"/>
                    </a:cubicBezTo>
                    <a:cubicBezTo>
                      <a:pt x="222" y="73"/>
                      <a:pt x="222" y="69"/>
                      <a:pt x="225" y="67"/>
                    </a:cubicBezTo>
                    <a:cubicBezTo>
                      <a:pt x="228" y="64"/>
                      <a:pt x="234" y="66"/>
                      <a:pt x="234" y="66"/>
                    </a:cubicBezTo>
                    <a:cubicBezTo>
                      <a:pt x="234" y="66"/>
                      <a:pt x="232" y="59"/>
                      <a:pt x="232" y="55"/>
                    </a:cubicBezTo>
                    <a:cubicBezTo>
                      <a:pt x="232" y="51"/>
                      <a:pt x="240" y="43"/>
                      <a:pt x="240" y="43"/>
                    </a:cubicBezTo>
                    <a:cubicBezTo>
                      <a:pt x="241" y="30"/>
                      <a:pt x="241" y="30"/>
                      <a:pt x="241" y="30"/>
                    </a:cubicBezTo>
                    <a:cubicBezTo>
                      <a:pt x="246" y="18"/>
                      <a:pt x="246" y="18"/>
                      <a:pt x="246" y="18"/>
                    </a:cubicBezTo>
                    <a:lnTo>
                      <a:pt x="222" y="14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6" name="Ungar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501228" y="3664837"/>
                <a:ext cx="846211" cy="563057"/>
              </a:xfrm>
              <a:custGeom>
                <a:avLst/>
                <a:gdLst/>
                <a:ahLst/>
                <a:cxnLst>
                  <a:cxn ang="0">
                    <a:pos x="292" y="23"/>
                  </a:cxn>
                  <a:cxn ang="0">
                    <a:pos x="276" y="15"/>
                  </a:cxn>
                  <a:cxn ang="0">
                    <a:pos x="265" y="10"/>
                  </a:cxn>
                  <a:cxn ang="0">
                    <a:pos x="250" y="9"/>
                  </a:cxn>
                  <a:cxn ang="0">
                    <a:pos x="235" y="5"/>
                  </a:cxn>
                  <a:cxn ang="0">
                    <a:pos x="210" y="5"/>
                  </a:cxn>
                  <a:cxn ang="0">
                    <a:pos x="180" y="25"/>
                  </a:cxn>
                  <a:cxn ang="0">
                    <a:pos x="148" y="31"/>
                  </a:cxn>
                  <a:cxn ang="0">
                    <a:pos x="127" y="46"/>
                  </a:cxn>
                  <a:cxn ang="0">
                    <a:pos x="118" y="60"/>
                  </a:cxn>
                  <a:cxn ang="0">
                    <a:pos x="101" y="68"/>
                  </a:cxn>
                  <a:cxn ang="0">
                    <a:pos x="81" y="71"/>
                  </a:cxn>
                  <a:cxn ang="0">
                    <a:pos x="62" y="68"/>
                  </a:cxn>
                  <a:cxn ang="0">
                    <a:pos x="39" y="59"/>
                  </a:cxn>
                  <a:cxn ang="0">
                    <a:pos x="36" y="67"/>
                  </a:cxn>
                  <a:cxn ang="0">
                    <a:pos x="38" y="76"/>
                  </a:cxn>
                  <a:cxn ang="0">
                    <a:pos x="19" y="75"/>
                  </a:cxn>
                  <a:cxn ang="0">
                    <a:pos x="14" y="84"/>
                  </a:cxn>
                  <a:cxn ang="0">
                    <a:pos x="23" y="90"/>
                  </a:cxn>
                  <a:cxn ang="0">
                    <a:pos x="14" y="107"/>
                  </a:cxn>
                  <a:cxn ang="0">
                    <a:pos x="17" y="116"/>
                  </a:cxn>
                  <a:cxn ang="0">
                    <a:pos x="6" y="126"/>
                  </a:cxn>
                  <a:cxn ang="0">
                    <a:pos x="9" y="135"/>
                  </a:cxn>
                  <a:cxn ang="0">
                    <a:pos x="13" y="143"/>
                  </a:cxn>
                  <a:cxn ang="0">
                    <a:pos x="21" y="152"/>
                  </a:cxn>
                  <a:cxn ang="0">
                    <a:pos x="27" y="160"/>
                  </a:cxn>
                  <a:cxn ang="0">
                    <a:pos x="38" y="166"/>
                  </a:cxn>
                  <a:cxn ang="0">
                    <a:pos x="60" y="189"/>
                  </a:cxn>
                  <a:cxn ang="0">
                    <a:pos x="76" y="198"/>
                  </a:cxn>
                  <a:cxn ang="0">
                    <a:pos x="115" y="199"/>
                  </a:cxn>
                  <a:cxn ang="0">
                    <a:pos x="129" y="188"/>
                  </a:cxn>
                  <a:cxn ang="0">
                    <a:pos x="140" y="179"/>
                  </a:cxn>
                  <a:cxn ang="0">
                    <a:pos x="157" y="173"/>
                  </a:cxn>
                  <a:cxn ang="0">
                    <a:pos x="173" y="168"/>
                  </a:cxn>
                  <a:cxn ang="0">
                    <a:pos x="202" y="163"/>
                  </a:cxn>
                  <a:cxn ang="0">
                    <a:pos x="213" y="162"/>
                  </a:cxn>
                  <a:cxn ang="0">
                    <a:pos x="234" y="152"/>
                  </a:cxn>
                  <a:cxn ang="0">
                    <a:pos x="239" y="140"/>
                  </a:cxn>
                  <a:cxn ang="0">
                    <a:pos x="241" y="127"/>
                  </a:cxn>
                  <a:cxn ang="0">
                    <a:pos x="245" y="114"/>
                  </a:cxn>
                  <a:cxn ang="0">
                    <a:pos x="250" y="98"/>
                  </a:cxn>
                  <a:cxn ang="0">
                    <a:pos x="259" y="76"/>
                  </a:cxn>
                  <a:cxn ang="0">
                    <a:pos x="262" y="66"/>
                  </a:cxn>
                  <a:cxn ang="0">
                    <a:pos x="276" y="46"/>
                  </a:cxn>
                  <a:cxn ang="0">
                    <a:pos x="297" y="31"/>
                  </a:cxn>
                </a:cxnLst>
                <a:rect l="0" t="0" r="r" b="b"/>
                <a:pathLst>
                  <a:path w="300" h="200">
                    <a:moveTo>
                      <a:pt x="294" y="30"/>
                    </a:moveTo>
                    <a:cubicBezTo>
                      <a:pt x="294" y="30"/>
                      <a:pt x="300" y="25"/>
                      <a:pt x="292" y="23"/>
                    </a:cubicBezTo>
                    <a:cubicBezTo>
                      <a:pt x="285" y="21"/>
                      <a:pt x="283" y="25"/>
                      <a:pt x="281" y="21"/>
                    </a:cubicBezTo>
                    <a:cubicBezTo>
                      <a:pt x="279" y="19"/>
                      <a:pt x="279" y="16"/>
                      <a:pt x="276" y="15"/>
                    </a:cubicBezTo>
                    <a:cubicBezTo>
                      <a:pt x="273" y="15"/>
                      <a:pt x="270" y="16"/>
                      <a:pt x="270" y="16"/>
                    </a:cubicBezTo>
                    <a:cubicBezTo>
                      <a:pt x="270" y="16"/>
                      <a:pt x="267" y="11"/>
                      <a:pt x="265" y="10"/>
                    </a:cubicBezTo>
                    <a:cubicBezTo>
                      <a:pt x="263" y="8"/>
                      <a:pt x="259" y="8"/>
                      <a:pt x="259" y="8"/>
                    </a:cubicBezTo>
                    <a:cubicBezTo>
                      <a:pt x="259" y="8"/>
                      <a:pt x="253" y="6"/>
                      <a:pt x="250" y="9"/>
                    </a:cubicBezTo>
                    <a:cubicBezTo>
                      <a:pt x="247" y="11"/>
                      <a:pt x="247" y="15"/>
                      <a:pt x="241" y="14"/>
                    </a:cubicBezTo>
                    <a:cubicBezTo>
                      <a:pt x="236" y="13"/>
                      <a:pt x="235" y="5"/>
                      <a:pt x="235" y="5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226" y="0"/>
                      <a:pt x="219" y="9"/>
                      <a:pt x="210" y="5"/>
                    </a:cubicBezTo>
                    <a:cubicBezTo>
                      <a:pt x="201" y="3"/>
                      <a:pt x="193" y="4"/>
                      <a:pt x="188" y="8"/>
                    </a:cubicBezTo>
                    <a:cubicBezTo>
                      <a:pt x="183" y="11"/>
                      <a:pt x="184" y="21"/>
                      <a:pt x="180" y="25"/>
                    </a:cubicBezTo>
                    <a:cubicBezTo>
                      <a:pt x="175" y="29"/>
                      <a:pt x="163" y="36"/>
                      <a:pt x="163" y="36"/>
                    </a:cubicBezTo>
                    <a:cubicBezTo>
                      <a:pt x="163" y="36"/>
                      <a:pt x="152" y="30"/>
                      <a:pt x="148" y="31"/>
                    </a:cubicBezTo>
                    <a:cubicBezTo>
                      <a:pt x="143" y="32"/>
                      <a:pt x="144" y="40"/>
                      <a:pt x="144" y="40"/>
                    </a:cubicBezTo>
                    <a:cubicBezTo>
                      <a:pt x="127" y="46"/>
                      <a:pt x="127" y="46"/>
                      <a:pt x="127" y="46"/>
                    </a:cubicBezTo>
                    <a:cubicBezTo>
                      <a:pt x="127" y="46"/>
                      <a:pt x="118" y="43"/>
                      <a:pt x="115" y="48"/>
                    </a:cubicBezTo>
                    <a:cubicBezTo>
                      <a:pt x="111" y="55"/>
                      <a:pt x="118" y="60"/>
                      <a:pt x="118" y="60"/>
                    </a:cubicBezTo>
                    <a:cubicBezTo>
                      <a:pt x="111" y="67"/>
                      <a:pt x="111" y="67"/>
                      <a:pt x="111" y="67"/>
                    </a:cubicBezTo>
                    <a:cubicBezTo>
                      <a:pt x="101" y="68"/>
                      <a:pt x="101" y="68"/>
                      <a:pt x="101" y="68"/>
                    </a:cubicBezTo>
                    <a:cubicBezTo>
                      <a:pt x="88" y="71"/>
                      <a:pt x="88" y="71"/>
                      <a:pt x="88" y="71"/>
                    </a:cubicBezTo>
                    <a:cubicBezTo>
                      <a:pt x="81" y="71"/>
                      <a:pt x="81" y="71"/>
                      <a:pt x="81" y="71"/>
                    </a:cubicBezTo>
                    <a:cubicBezTo>
                      <a:pt x="81" y="71"/>
                      <a:pt x="75" y="72"/>
                      <a:pt x="71" y="72"/>
                    </a:cubicBezTo>
                    <a:cubicBezTo>
                      <a:pt x="66" y="72"/>
                      <a:pt x="62" y="68"/>
                      <a:pt x="62" y="68"/>
                    </a:cubicBezTo>
                    <a:cubicBezTo>
                      <a:pt x="62" y="68"/>
                      <a:pt x="55" y="60"/>
                      <a:pt x="50" y="59"/>
                    </a:cubicBezTo>
                    <a:cubicBezTo>
                      <a:pt x="47" y="58"/>
                      <a:pt x="43" y="58"/>
                      <a:pt x="39" y="59"/>
                    </a:cubicBezTo>
                    <a:cubicBezTo>
                      <a:pt x="39" y="65"/>
                      <a:pt x="39" y="65"/>
                      <a:pt x="39" y="65"/>
                    </a:cubicBezTo>
                    <a:cubicBezTo>
                      <a:pt x="36" y="67"/>
                      <a:pt x="36" y="67"/>
                      <a:pt x="36" y="67"/>
                    </a:cubicBezTo>
                    <a:cubicBezTo>
                      <a:pt x="38" y="68"/>
                      <a:pt x="38" y="68"/>
                      <a:pt x="38" y="68"/>
                    </a:cubicBezTo>
                    <a:cubicBezTo>
                      <a:pt x="38" y="76"/>
                      <a:pt x="38" y="76"/>
                      <a:pt x="38" y="76"/>
                    </a:cubicBezTo>
                    <a:cubicBezTo>
                      <a:pt x="25" y="80"/>
                      <a:pt x="25" y="80"/>
                      <a:pt x="25" y="80"/>
                    </a:cubicBezTo>
                    <a:cubicBezTo>
                      <a:pt x="25" y="80"/>
                      <a:pt x="21" y="75"/>
                      <a:pt x="19" y="75"/>
                    </a:cubicBezTo>
                    <a:cubicBezTo>
                      <a:pt x="17" y="76"/>
                      <a:pt x="12" y="77"/>
                      <a:pt x="11" y="81"/>
                    </a:cubicBezTo>
                    <a:cubicBezTo>
                      <a:pt x="9" y="86"/>
                      <a:pt x="14" y="84"/>
                      <a:pt x="14" y="84"/>
                    </a:cubicBezTo>
                    <a:cubicBezTo>
                      <a:pt x="19" y="83"/>
                      <a:pt x="19" y="83"/>
                      <a:pt x="19" y="83"/>
                    </a:cubicBezTo>
                    <a:cubicBezTo>
                      <a:pt x="19" y="83"/>
                      <a:pt x="21" y="83"/>
                      <a:pt x="23" y="90"/>
                    </a:cubicBezTo>
                    <a:cubicBezTo>
                      <a:pt x="25" y="96"/>
                      <a:pt x="11" y="99"/>
                      <a:pt x="10" y="102"/>
                    </a:cubicBezTo>
                    <a:cubicBezTo>
                      <a:pt x="10" y="105"/>
                      <a:pt x="14" y="105"/>
                      <a:pt x="14" y="107"/>
                    </a:cubicBezTo>
                    <a:cubicBezTo>
                      <a:pt x="14" y="108"/>
                      <a:pt x="11" y="110"/>
                      <a:pt x="12" y="113"/>
                    </a:cubicBezTo>
                    <a:cubicBezTo>
                      <a:pt x="12" y="115"/>
                      <a:pt x="17" y="116"/>
                      <a:pt x="17" y="116"/>
                    </a:cubicBezTo>
                    <a:cubicBezTo>
                      <a:pt x="16" y="125"/>
                      <a:pt x="16" y="125"/>
                      <a:pt x="16" y="125"/>
                    </a:cubicBezTo>
                    <a:cubicBezTo>
                      <a:pt x="6" y="126"/>
                      <a:pt x="6" y="126"/>
                      <a:pt x="6" y="126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4" y="134"/>
                      <a:pt x="8" y="135"/>
                      <a:pt x="9" y="135"/>
                    </a:cubicBezTo>
                    <a:cubicBezTo>
                      <a:pt x="13" y="137"/>
                      <a:pt x="10" y="139"/>
                      <a:pt x="9" y="141"/>
                    </a:cubicBezTo>
                    <a:cubicBezTo>
                      <a:pt x="9" y="144"/>
                      <a:pt x="13" y="143"/>
                      <a:pt x="13" y="143"/>
                    </a:cubicBezTo>
                    <a:cubicBezTo>
                      <a:pt x="13" y="150"/>
                      <a:pt x="13" y="150"/>
                      <a:pt x="13" y="150"/>
                    </a:cubicBezTo>
                    <a:cubicBezTo>
                      <a:pt x="13" y="153"/>
                      <a:pt x="21" y="152"/>
                      <a:pt x="21" y="152"/>
                    </a:cubicBezTo>
                    <a:cubicBezTo>
                      <a:pt x="21" y="157"/>
                      <a:pt x="21" y="157"/>
                      <a:pt x="21" y="157"/>
                    </a:cubicBezTo>
                    <a:cubicBezTo>
                      <a:pt x="27" y="160"/>
                      <a:pt x="27" y="160"/>
                      <a:pt x="27" y="160"/>
                    </a:cubicBezTo>
                    <a:cubicBezTo>
                      <a:pt x="29" y="165"/>
                      <a:pt x="29" y="165"/>
                      <a:pt x="29" y="165"/>
                    </a:cubicBezTo>
                    <a:cubicBezTo>
                      <a:pt x="29" y="165"/>
                      <a:pt x="36" y="163"/>
                      <a:pt x="38" y="166"/>
                    </a:cubicBezTo>
                    <a:cubicBezTo>
                      <a:pt x="40" y="169"/>
                      <a:pt x="42" y="174"/>
                      <a:pt x="42" y="174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0" y="189"/>
                      <a:pt x="67" y="188"/>
                      <a:pt x="71" y="190"/>
                    </a:cubicBezTo>
                    <a:cubicBezTo>
                      <a:pt x="75" y="192"/>
                      <a:pt x="76" y="198"/>
                      <a:pt x="76" y="198"/>
                    </a:cubicBezTo>
                    <a:cubicBezTo>
                      <a:pt x="76" y="198"/>
                      <a:pt x="94" y="200"/>
                      <a:pt x="99" y="200"/>
                    </a:cubicBezTo>
                    <a:cubicBezTo>
                      <a:pt x="104" y="200"/>
                      <a:pt x="115" y="199"/>
                      <a:pt x="115" y="199"/>
                    </a:cubicBezTo>
                    <a:cubicBezTo>
                      <a:pt x="122" y="189"/>
                      <a:pt x="122" y="189"/>
                      <a:pt x="122" y="189"/>
                    </a:cubicBezTo>
                    <a:cubicBezTo>
                      <a:pt x="129" y="188"/>
                      <a:pt x="129" y="188"/>
                      <a:pt x="129" y="188"/>
                    </a:cubicBezTo>
                    <a:cubicBezTo>
                      <a:pt x="139" y="183"/>
                      <a:pt x="139" y="183"/>
                      <a:pt x="139" y="183"/>
                    </a:cubicBezTo>
                    <a:cubicBezTo>
                      <a:pt x="140" y="179"/>
                      <a:pt x="140" y="179"/>
                      <a:pt x="140" y="179"/>
                    </a:cubicBezTo>
                    <a:cubicBezTo>
                      <a:pt x="145" y="181"/>
                      <a:pt x="145" y="181"/>
                      <a:pt x="145" y="181"/>
                    </a:cubicBezTo>
                    <a:cubicBezTo>
                      <a:pt x="145" y="181"/>
                      <a:pt x="154" y="176"/>
                      <a:pt x="157" y="173"/>
                    </a:cubicBezTo>
                    <a:cubicBezTo>
                      <a:pt x="159" y="170"/>
                      <a:pt x="164" y="165"/>
                      <a:pt x="166" y="165"/>
                    </a:cubicBezTo>
                    <a:cubicBezTo>
                      <a:pt x="169" y="165"/>
                      <a:pt x="173" y="168"/>
                      <a:pt x="173" y="168"/>
                    </a:cubicBezTo>
                    <a:cubicBezTo>
                      <a:pt x="173" y="168"/>
                      <a:pt x="175" y="162"/>
                      <a:pt x="184" y="163"/>
                    </a:cubicBezTo>
                    <a:cubicBezTo>
                      <a:pt x="202" y="163"/>
                      <a:pt x="202" y="163"/>
                      <a:pt x="202" y="163"/>
                    </a:cubicBezTo>
                    <a:cubicBezTo>
                      <a:pt x="204" y="160"/>
                      <a:pt x="204" y="160"/>
                      <a:pt x="204" y="160"/>
                    </a:cubicBezTo>
                    <a:cubicBezTo>
                      <a:pt x="204" y="160"/>
                      <a:pt x="209" y="163"/>
                      <a:pt x="213" y="162"/>
                    </a:cubicBezTo>
                    <a:cubicBezTo>
                      <a:pt x="216" y="161"/>
                      <a:pt x="214" y="154"/>
                      <a:pt x="219" y="153"/>
                    </a:cubicBezTo>
                    <a:cubicBezTo>
                      <a:pt x="225" y="152"/>
                      <a:pt x="231" y="156"/>
                      <a:pt x="234" y="152"/>
                    </a:cubicBezTo>
                    <a:cubicBezTo>
                      <a:pt x="237" y="149"/>
                      <a:pt x="235" y="143"/>
                      <a:pt x="235" y="143"/>
                    </a:cubicBezTo>
                    <a:cubicBezTo>
                      <a:pt x="239" y="140"/>
                      <a:pt x="239" y="140"/>
                      <a:pt x="239" y="140"/>
                    </a:cubicBezTo>
                    <a:cubicBezTo>
                      <a:pt x="237" y="127"/>
                      <a:pt x="237" y="127"/>
                      <a:pt x="237" y="127"/>
                    </a:cubicBezTo>
                    <a:cubicBezTo>
                      <a:pt x="241" y="127"/>
                      <a:pt x="241" y="127"/>
                      <a:pt x="241" y="127"/>
                    </a:cubicBezTo>
                    <a:cubicBezTo>
                      <a:pt x="247" y="119"/>
                      <a:pt x="247" y="119"/>
                      <a:pt x="247" y="119"/>
                    </a:cubicBezTo>
                    <a:cubicBezTo>
                      <a:pt x="245" y="114"/>
                      <a:pt x="245" y="114"/>
                      <a:pt x="245" y="114"/>
                    </a:cubicBezTo>
                    <a:cubicBezTo>
                      <a:pt x="251" y="104"/>
                      <a:pt x="251" y="104"/>
                      <a:pt x="251" y="104"/>
                    </a:cubicBezTo>
                    <a:cubicBezTo>
                      <a:pt x="250" y="98"/>
                      <a:pt x="250" y="98"/>
                      <a:pt x="250" y="98"/>
                    </a:cubicBezTo>
                    <a:cubicBezTo>
                      <a:pt x="257" y="87"/>
                      <a:pt x="257" y="87"/>
                      <a:pt x="257" y="87"/>
                    </a:cubicBezTo>
                    <a:cubicBezTo>
                      <a:pt x="259" y="76"/>
                      <a:pt x="259" y="76"/>
                      <a:pt x="259" y="76"/>
                    </a:cubicBezTo>
                    <a:cubicBezTo>
                      <a:pt x="263" y="73"/>
                      <a:pt x="263" y="73"/>
                      <a:pt x="263" y="73"/>
                    </a:cubicBezTo>
                    <a:cubicBezTo>
                      <a:pt x="262" y="66"/>
                      <a:pt x="262" y="66"/>
                      <a:pt x="262" y="66"/>
                    </a:cubicBezTo>
                    <a:cubicBezTo>
                      <a:pt x="273" y="49"/>
                      <a:pt x="273" y="49"/>
                      <a:pt x="273" y="49"/>
                    </a:cubicBezTo>
                    <a:cubicBezTo>
                      <a:pt x="276" y="46"/>
                      <a:pt x="276" y="46"/>
                      <a:pt x="276" y="46"/>
                    </a:cubicBezTo>
                    <a:cubicBezTo>
                      <a:pt x="285" y="46"/>
                      <a:pt x="285" y="46"/>
                      <a:pt x="285" y="46"/>
                    </a:cubicBezTo>
                    <a:cubicBezTo>
                      <a:pt x="297" y="31"/>
                      <a:pt x="297" y="31"/>
                      <a:pt x="297" y="31"/>
                    </a:cubicBezTo>
                    <a:lnTo>
                      <a:pt x="294" y="3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7" name="Estland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4929215" y="1576973"/>
                <a:ext cx="608621" cy="385677"/>
              </a:xfrm>
              <a:custGeom>
                <a:avLst/>
                <a:gdLst/>
                <a:ahLst/>
                <a:cxnLst>
                  <a:cxn ang="0">
                    <a:pos x="199" y="82"/>
                  </a:cxn>
                  <a:cxn ang="0">
                    <a:pos x="192" y="42"/>
                  </a:cxn>
                  <a:cxn ang="0">
                    <a:pos x="198" y="11"/>
                  </a:cxn>
                  <a:cxn ang="0">
                    <a:pos x="194" y="5"/>
                  </a:cxn>
                  <a:cxn ang="0">
                    <a:pos x="150" y="5"/>
                  </a:cxn>
                  <a:cxn ang="0">
                    <a:pos x="133" y="7"/>
                  </a:cxn>
                  <a:cxn ang="0">
                    <a:pos x="129" y="8"/>
                  </a:cxn>
                  <a:cxn ang="0">
                    <a:pos x="124" y="7"/>
                  </a:cxn>
                  <a:cxn ang="0">
                    <a:pos x="118" y="3"/>
                  </a:cxn>
                  <a:cxn ang="0">
                    <a:pos x="114" y="8"/>
                  </a:cxn>
                  <a:cxn ang="0">
                    <a:pos x="103" y="17"/>
                  </a:cxn>
                  <a:cxn ang="0">
                    <a:pos x="91" y="24"/>
                  </a:cxn>
                  <a:cxn ang="0">
                    <a:pos x="75" y="30"/>
                  </a:cxn>
                  <a:cxn ang="0">
                    <a:pos x="66" y="31"/>
                  </a:cxn>
                  <a:cxn ang="0">
                    <a:pos x="67" y="39"/>
                  </a:cxn>
                  <a:cxn ang="0">
                    <a:pos x="56" y="44"/>
                  </a:cxn>
                  <a:cxn ang="0">
                    <a:pos x="51" y="45"/>
                  </a:cxn>
                  <a:cxn ang="0">
                    <a:pos x="52" y="50"/>
                  </a:cxn>
                  <a:cxn ang="0">
                    <a:pos x="52" y="61"/>
                  </a:cxn>
                  <a:cxn ang="0">
                    <a:pos x="51" y="65"/>
                  </a:cxn>
                  <a:cxn ang="0">
                    <a:pos x="58" y="72"/>
                  </a:cxn>
                  <a:cxn ang="0">
                    <a:pos x="56" y="77"/>
                  </a:cxn>
                  <a:cxn ang="0">
                    <a:pos x="57" y="88"/>
                  </a:cxn>
                  <a:cxn ang="0">
                    <a:pos x="69" y="101"/>
                  </a:cxn>
                  <a:cxn ang="0">
                    <a:pos x="78" y="99"/>
                  </a:cxn>
                  <a:cxn ang="0">
                    <a:pos x="87" y="94"/>
                  </a:cxn>
                  <a:cxn ang="0">
                    <a:pos x="97" y="112"/>
                  </a:cxn>
                  <a:cxn ang="0">
                    <a:pos x="98" y="126"/>
                  </a:cxn>
                  <a:cxn ang="0">
                    <a:pos x="105" y="122"/>
                  </a:cxn>
                  <a:cxn ang="0">
                    <a:pos x="119" y="108"/>
                  </a:cxn>
                  <a:cxn ang="0">
                    <a:pos x="127" y="108"/>
                  </a:cxn>
                  <a:cxn ang="0">
                    <a:pos x="140" y="117"/>
                  </a:cxn>
                  <a:cxn ang="0">
                    <a:pos x="154" y="117"/>
                  </a:cxn>
                  <a:cxn ang="0">
                    <a:pos x="164" y="131"/>
                  </a:cxn>
                  <a:cxn ang="0">
                    <a:pos x="188" y="126"/>
                  </a:cxn>
                  <a:cxn ang="0">
                    <a:pos x="202" y="123"/>
                  </a:cxn>
                  <a:cxn ang="0">
                    <a:pos x="205" y="108"/>
                  </a:cxn>
                  <a:cxn ang="0">
                    <a:pos x="28" y="91"/>
                  </a:cxn>
                  <a:cxn ang="0">
                    <a:pos x="15" y="93"/>
                  </a:cxn>
                  <a:cxn ang="0">
                    <a:pos x="11" y="104"/>
                  </a:cxn>
                  <a:cxn ang="0">
                    <a:pos x="0" y="99"/>
                  </a:cxn>
                  <a:cxn ang="0">
                    <a:pos x="6" y="108"/>
                  </a:cxn>
                  <a:cxn ang="0">
                    <a:pos x="16" y="119"/>
                  </a:cxn>
                  <a:cxn ang="0">
                    <a:pos x="13" y="125"/>
                  </a:cxn>
                  <a:cxn ang="0">
                    <a:pos x="13" y="137"/>
                  </a:cxn>
                  <a:cxn ang="0">
                    <a:pos x="24" y="114"/>
                  </a:cxn>
                  <a:cxn ang="0">
                    <a:pos x="44" y="99"/>
                  </a:cxn>
                  <a:cxn ang="0">
                    <a:pos x="28" y="91"/>
                  </a:cxn>
                  <a:cxn ang="0">
                    <a:pos x="18" y="77"/>
                  </a:cxn>
                  <a:cxn ang="0">
                    <a:pos x="26" y="80"/>
                  </a:cxn>
                  <a:cxn ang="0">
                    <a:pos x="32" y="76"/>
                  </a:cxn>
                  <a:cxn ang="0">
                    <a:pos x="32" y="65"/>
                  </a:cxn>
                  <a:cxn ang="0">
                    <a:pos x="19" y="57"/>
                  </a:cxn>
                  <a:cxn ang="0">
                    <a:pos x="8" y="71"/>
                  </a:cxn>
                  <a:cxn ang="0">
                    <a:pos x="9" y="75"/>
                  </a:cxn>
                  <a:cxn ang="0">
                    <a:pos x="45" y="83"/>
                  </a:cxn>
                  <a:cxn ang="0">
                    <a:pos x="45" y="88"/>
                  </a:cxn>
                  <a:cxn ang="0">
                    <a:pos x="51" y="83"/>
                  </a:cxn>
                  <a:cxn ang="0">
                    <a:pos x="45" y="58"/>
                  </a:cxn>
                </a:cxnLst>
                <a:rect l="0" t="0" r="r" b="b"/>
                <a:pathLst>
                  <a:path w="215" h="137">
                    <a:moveTo>
                      <a:pt x="205" y="96"/>
                    </a:moveTo>
                    <a:cubicBezTo>
                      <a:pt x="205" y="96"/>
                      <a:pt x="205" y="93"/>
                      <a:pt x="204" y="89"/>
                    </a:cubicBezTo>
                    <a:cubicBezTo>
                      <a:pt x="204" y="86"/>
                      <a:pt x="199" y="82"/>
                      <a:pt x="199" y="82"/>
                    </a:cubicBezTo>
                    <a:cubicBezTo>
                      <a:pt x="199" y="82"/>
                      <a:pt x="198" y="72"/>
                      <a:pt x="195" y="65"/>
                    </a:cubicBezTo>
                    <a:cubicBezTo>
                      <a:pt x="192" y="59"/>
                      <a:pt x="186" y="47"/>
                      <a:pt x="186" y="47"/>
                    </a:cubicBezTo>
                    <a:cubicBezTo>
                      <a:pt x="186" y="47"/>
                      <a:pt x="189" y="44"/>
                      <a:pt x="192" y="42"/>
                    </a:cubicBezTo>
                    <a:cubicBezTo>
                      <a:pt x="193" y="40"/>
                      <a:pt x="197" y="30"/>
                      <a:pt x="197" y="30"/>
                    </a:cubicBezTo>
                    <a:cubicBezTo>
                      <a:pt x="200" y="14"/>
                      <a:pt x="200" y="14"/>
                      <a:pt x="200" y="14"/>
                    </a:cubicBezTo>
                    <a:cubicBezTo>
                      <a:pt x="200" y="14"/>
                      <a:pt x="198" y="12"/>
                      <a:pt x="198" y="11"/>
                    </a:cubicBezTo>
                    <a:cubicBezTo>
                      <a:pt x="198" y="9"/>
                      <a:pt x="204" y="5"/>
                      <a:pt x="204" y="5"/>
                    </a:cubicBez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0"/>
                      <a:pt x="197" y="4"/>
                      <a:pt x="194" y="5"/>
                    </a:cubicBezTo>
                    <a:cubicBezTo>
                      <a:pt x="191" y="8"/>
                      <a:pt x="184" y="4"/>
                      <a:pt x="178" y="5"/>
                    </a:cubicBezTo>
                    <a:cubicBezTo>
                      <a:pt x="171" y="7"/>
                      <a:pt x="175" y="10"/>
                      <a:pt x="167" y="10"/>
                    </a:cubicBezTo>
                    <a:cubicBezTo>
                      <a:pt x="159" y="10"/>
                      <a:pt x="150" y="5"/>
                      <a:pt x="150" y="5"/>
                    </a:cubicBezTo>
                    <a:cubicBezTo>
                      <a:pt x="147" y="8"/>
                      <a:pt x="147" y="8"/>
                      <a:pt x="147" y="8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31" y="3"/>
                      <a:pt x="131" y="3"/>
                      <a:pt x="131" y="3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129" y="8"/>
                      <a:pt x="129" y="8"/>
                      <a:pt x="129" y="8"/>
                    </a:cubicBezTo>
                    <a:cubicBezTo>
                      <a:pt x="126" y="8"/>
                      <a:pt x="126" y="8"/>
                      <a:pt x="126" y="8"/>
                    </a:cubicBezTo>
                    <a:cubicBezTo>
                      <a:pt x="126" y="7"/>
                      <a:pt x="126" y="7"/>
                      <a:pt x="126" y="7"/>
                    </a:cubicBezTo>
                    <a:cubicBezTo>
                      <a:pt x="124" y="7"/>
                      <a:pt x="124" y="7"/>
                      <a:pt x="124" y="7"/>
                    </a:cubicBezTo>
                    <a:cubicBezTo>
                      <a:pt x="124" y="10"/>
                      <a:pt x="124" y="10"/>
                      <a:pt x="124" y="10"/>
                    </a:cubicBezTo>
                    <a:cubicBezTo>
                      <a:pt x="122" y="10"/>
                      <a:pt x="122" y="10"/>
                      <a:pt x="122" y="10"/>
                    </a:cubicBezTo>
                    <a:cubicBezTo>
                      <a:pt x="118" y="3"/>
                      <a:pt x="118" y="3"/>
                      <a:pt x="118" y="3"/>
                    </a:cubicBezTo>
                    <a:cubicBezTo>
                      <a:pt x="117" y="4"/>
                      <a:pt x="117" y="4"/>
                      <a:pt x="117" y="4"/>
                    </a:cubicBezTo>
                    <a:cubicBezTo>
                      <a:pt x="117" y="4"/>
                      <a:pt x="119" y="10"/>
                      <a:pt x="118" y="11"/>
                    </a:cubicBezTo>
                    <a:cubicBezTo>
                      <a:pt x="117" y="11"/>
                      <a:pt x="114" y="8"/>
                      <a:pt x="114" y="8"/>
                    </a:cubicBezTo>
                    <a:cubicBezTo>
                      <a:pt x="114" y="14"/>
                      <a:pt x="114" y="14"/>
                      <a:pt x="114" y="14"/>
                    </a:cubicBezTo>
                    <a:cubicBezTo>
                      <a:pt x="114" y="14"/>
                      <a:pt x="114" y="15"/>
                      <a:pt x="112" y="16"/>
                    </a:cubicBezTo>
                    <a:cubicBezTo>
                      <a:pt x="110" y="17"/>
                      <a:pt x="103" y="17"/>
                      <a:pt x="103" y="17"/>
                    </a:cubicBezTo>
                    <a:cubicBezTo>
                      <a:pt x="103" y="17"/>
                      <a:pt x="98" y="20"/>
                      <a:pt x="97" y="20"/>
                    </a:cubicBezTo>
                    <a:cubicBezTo>
                      <a:pt x="96" y="20"/>
                      <a:pt x="90" y="15"/>
                      <a:pt x="89" y="16"/>
                    </a:cubicBezTo>
                    <a:cubicBezTo>
                      <a:pt x="88" y="17"/>
                      <a:pt x="91" y="24"/>
                      <a:pt x="91" y="24"/>
                    </a:cubicBezTo>
                    <a:cubicBezTo>
                      <a:pt x="87" y="26"/>
                      <a:pt x="87" y="26"/>
                      <a:pt x="87" y="26"/>
                    </a:cubicBezTo>
                    <a:cubicBezTo>
                      <a:pt x="87" y="26"/>
                      <a:pt x="80" y="24"/>
                      <a:pt x="78" y="25"/>
                    </a:cubicBezTo>
                    <a:cubicBezTo>
                      <a:pt x="75" y="26"/>
                      <a:pt x="75" y="30"/>
                      <a:pt x="75" y="30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66" y="31"/>
                      <a:pt x="66" y="31"/>
                      <a:pt x="66" y="31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66" y="33"/>
                      <a:pt x="70" y="39"/>
                      <a:pt x="69" y="40"/>
                    </a:cubicBezTo>
                    <a:cubicBezTo>
                      <a:pt x="68" y="41"/>
                      <a:pt x="67" y="39"/>
                      <a:pt x="67" y="39"/>
                    </a:cubicBezTo>
                    <a:cubicBezTo>
                      <a:pt x="60" y="40"/>
                      <a:pt x="60" y="40"/>
                      <a:pt x="60" y="40"/>
                    </a:cubicBezTo>
                    <a:cubicBezTo>
                      <a:pt x="57" y="41"/>
                      <a:pt x="57" y="41"/>
                      <a:pt x="57" y="41"/>
                    </a:cubicBezTo>
                    <a:cubicBezTo>
                      <a:pt x="56" y="44"/>
                      <a:pt x="56" y="44"/>
                      <a:pt x="56" y="44"/>
                    </a:cubicBezTo>
                    <a:cubicBezTo>
                      <a:pt x="55" y="44"/>
                      <a:pt x="55" y="44"/>
                      <a:pt x="55" y="44"/>
                    </a:cubicBezTo>
                    <a:cubicBezTo>
                      <a:pt x="51" y="46"/>
                      <a:pt x="51" y="46"/>
                      <a:pt x="51" y="46"/>
                    </a:cubicBezTo>
                    <a:cubicBezTo>
                      <a:pt x="51" y="45"/>
                      <a:pt x="51" y="45"/>
                      <a:pt x="51" y="45"/>
                    </a:cubicBezTo>
                    <a:cubicBezTo>
                      <a:pt x="50" y="45"/>
                      <a:pt x="50" y="45"/>
                      <a:pt x="50" y="45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52" y="50"/>
                      <a:pt x="52" y="50"/>
                      <a:pt x="52" y="50"/>
                    </a:cubicBezTo>
                    <a:cubicBezTo>
                      <a:pt x="51" y="55"/>
                      <a:pt x="51" y="55"/>
                      <a:pt x="51" y="55"/>
                    </a:cubicBezTo>
                    <a:cubicBezTo>
                      <a:pt x="51" y="55"/>
                      <a:pt x="49" y="55"/>
                      <a:pt x="49" y="57"/>
                    </a:cubicBezTo>
                    <a:cubicBezTo>
                      <a:pt x="49" y="59"/>
                      <a:pt x="51" y="61"/>
                      <a:pt x="52" y="61"/>
                    </a:cubicBezTo>
                    <a:cubicBezTo>
                      <a:pt x="54" y="61"/>
                      <a:pt x="55" y="59"/>
                      <a:pt x="55" y="59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6" y="60"/>
                      <a:pt x="51" y="63"/>
                      <a:pt x="51" y="65"/>
                    </a:cubicBezTo>
                    <a:cubicBezTo>
                      <a:pt x="50" y="67"/>
                      <a:pt x="54" y="71"/>
                      <a:pt x="54" y="71"/>
                    </a:cubicBezTo>
                    <a:cubicBezTo>
                      <a:pt x="53" y="75"/>
                      <a:pt x="53" y="75"/>
                      <a:pt x="53" y="75"/>
                    </a:cubicBezTo>
                    <a:cubicBezTo>
                      <a:pt x="58" y="72"/>
                      <a:pt x="58" y="72"/>
                      <a:pt x="58" y="72"/>
                    </a:cubicBezTo>
                    <a:cubicBezTo>
                      <a:pt x="64" y="73"/>
                      <a:pt x="64" y="73"/>
                      <a:pt x="64" y="73"/>
                    </a:cubicBezTo>
                    <a:cubicBezTo>
                      <a:pt x="63" y="76"/>
                      <a:pt x="63" y="76"/>
                      <a:pt x="63" y="76"/>
                    </a:cubicBezTo>
                    <a:cubicBezTo>
                      <a:pt x="56" y="77"/>
                      <a:pt x="56" y="77"/>
                      <a:pt x="56" y="77"/>
                    </a:cubicBezTo>
                    <a:cubicBezTo>
                      <a:pt x="57" y="78"/>
                      <a:pt x="57" y="78"/>
                      <a:pt x="57" y="78"/>
                    </a:cubicBezTo>
                    <a:cubicBezTo>
                      <a:pt x="55" y="79"/>
                      <a:pt x="55" y="79"/>
                      <a:pt x="55" y="79"/>
                    </a:cubicBezTo>
                    <a:cubicBezTo>
                      <a:pt x="57" y="88"/>
                      <a:pt x="57" y="88"/>
                      <a:pt x="57" y="88"/>
                    </a:cubicBezTo>
                    <a:cubicBezTo>
                      <a:pt x="57" y="88"/>
                      <a:pt x="61" y="87"/>
                      <a:pt x="63" y="89"/>
                    </a:cubicBezTo>
                    <a:cubicBezTo>
                      <a:pt x="65" y="91"/>
                      <a:pt x="66" y="94"/>
                      <a:pt x="67" y="96"/>
                    </a:cubicBezTo>
                    <a:cubicBezTo>
                      <a:pt x="68" y="98"/>
                      <a:pt x="69" y="101"/>
                      <a:pt x="69" y="101"/>
                    </a:cubicBezTo>
                    <a:cubicBezTo>
                      <a:pt x="71" y="99"/>
                      <a:pt x="71" y="99"/>
                      <a:pt x="71" y="99"/>
                    </a:cubicBezTo>
                    <a:cubicBezTo>
                      <a:pt x="73" y="102"/>
                      <a:pt x="73" y="102"/>
                      <a:pt x="73" y="102"/>
                    </a:cubicBezTo>
                    <a:cubicBezTo>
                      <a:pt x="78" y="99"/>
                      <a:pt x="78" y="99"/>
                      <a:pt x="78" y="99"/>
                    </a:cubicBezTo>
                    <a:cubicBezTo>
                      <a:pt x="83" y="104"/>
                      <a:pt x="83" y="104"/>
                      <a:pt x="83" y="104"/>
                    </a:cubicBezTo>
                    <a:cubicBezTo>
                      <a:pt x="86" y="101"/>
                      <a:pt x="86" y="101"/>
                      <a:pt x="86" y="101"/>
                    </a:cubicBezTo>
                    <a:cubicBezTo>
                      <a:pt x="86" y="101"/>
                      <a:pt x="86" y="95"/>
                      <a:pt x="87" y="94"/>
                    </a:cubicBezTo>
                    <a:cubicBezTo>
                      <a:pt x="89" y="93"/>
                      <a:pt x="95" y="94"/>
                      <a:pt x="96" y="96"/>
                    </a:cubicBezTo>
                    <a:cubicBezTo>
                      <a:pt x="98" y="97"/>
                      <a:pt x="94" y="103"/>
                      <a:pt x="94" y="103"/>
                    </a:cubicBezTo>
                    <a:cubicBezTo>
                      <a:pt x="97" y="112"/>
                      <a:pt x="97" y="112"/>
                      <a:pt x="97" y="112"/>
                    </a:cubicBezTo>
                    <a:cubicBezTo>
                      <a:pt x="95" y="120"/>
                      <a:pt x="95" y="120"/>
                      <a:pt x="95" y="120"/>
                    </a:cubicBezTo>
                    <a:cubicBezTo>
                      <a:pt x="96" y="126"/>
                      <a:pt x="96" y="126"/>
                      <a:pt x="96" y="126"/>
                    </a:cubicBezTo>
                    <a:cubicBezTo>
                      <a:pt x="98" y="126"/>
                      <a:pt x="98" y="126"/>
                      <a:pt x="98" y="126"/>
                    </a:cubicBezTo>
                    <a:cubicBezTo>
                      <a:pt x="99" y="122"/>
                      <a:pt x="99" y="122"/>
                      <a:pt x="99" y="122"/>
                    </a:cubicBezTo>
                    <a:cubicBezTo>
                      <a:pt x="102" y="119"/>
                      <a:pt x="102" y="119"/>
                      <a:pt x="102" y="119"/>
                    </a:cubicBezTo>
                    <a:cubicBezTo>
                      <a:pt x="105" y="122"/>
                      <a:pt x="105" y="122"/>
                      <a:pt x="105" y="122"/>
                    </a:cubicBezTo>
                    <a:cubicBezTo>
                      <a:pt x="108" y="115"/>
                      <a:pt x="108" y="115"/>
                      <a:pt x="108" y="115"/>
                    </a:cubicBezTo>
                    <a:cubicBezTo>
                      <a:pt x="114" y="117"/>
                      <a:pt x="114" y="117"/>
                      <a:pt x="114" y="117"/>
                    </a:cubicBezTo>
                    <a:cubicBezTo>
                      <a:pt x="119" y="108"/>
                      <a:pt x="119" y="108"/>
                      <a:pt x="119" y="108"/>
                    </a:cubicBezTo>
                    <a:cubicBezTo>
                      <a:pt x="122" y="108"/>
                      <a:pt x="122" y="108"/>
                      <a:pt x="122" y="108"/>
                    </a:cubicBezTo>
                    <a:cubicBezTo>
                      <a:pt x="126" y="113"/>
                      <a:pt x="126" y="113"/>
                      <a:pt x="126" y="113"/>
                    </a:cubicBezTo>
                    <a:cubicBezTo>
                      <a:pt x="127" y="108"/>
                      <a:pt x="127" y="108"/>
                      <a:pt x="127" y="108"/>
                    </a:cubicBezTo>
                    <a:cubicBezTo>
                      <a:pt x="133" y="112"/>
                      <a:pt x="133" y="112"/>
                      <a:pt x="133" y="112"/>
                    </a:cubicBezTo>
                    <a:cubicBezTo>
                      <a:pt x="137" y="112"/>
                      <a:pt x="137" y="112"/>
                      <a:pt x="137" y="112"/>
                    </a:cubicBezTo>
                    <a:cubicBezTo>
                      <a:pt x="140" y="117"/>
                      <a:pt x="140" y="117"/>
                      <a:pt x="140" y="117"/>
                    </a:cubicBezTo>
                    <a:cubicBezTo>
                      <a:pt x="144" y="114"/>
                      <a:pt x="144" y="114"/>
                      <a:pt x="144" y="114"/>
                    </a:cubicBezTo>
                    <a:cubicBezTo>
                      <a:pt x="144" y="114"/>
                      <a:pt x="146" y="119"/>
                      <a:pt x="148" y="119"/>
                    </a:cubicBezTo>
                    <a:cubicBezTo>
                      <a:pt x="150" y="119"/>
                      <a:pt x="154" y="117"/>
                      <a:pt x="154" y="117"/>
                    </a:cubicBezTo>
                    <a:cubicBezTo>
                      <a:pt x="154" y="121"/>
                      <a:pt x="154" y="121"/>
                      <a:pt x="154" y="121"/>
                    </a:cubicBezTo>
                    <a:cubicBezTo>
                      <a:pt x="154" y="121"/>
                      <a:pt x="159" y="123"/>
                      <a:pt x="161" y="124"/>
                    </a:cubicBezTo>
                    <a:cubicBezTo>
                      <a:pt x="163" y="126"/>
                      <a:pt x="162" y="131"/>
                      <a:pt x="164" y="131"/>
                    </a:cubicBezTo>
                    <a:cubicBezTo>
                      <a:pt x="173" y="131"/>
                      <a:pt x="173" y="131"/>
                      <a:pt x="173" y="131"/>
                    </a:cubicBezTo>
                    <a:cubicBezTo>
                      <a:pt x="177" y="134"/>
                      <a:pt x="177" y="134"/>
                      <a:pt x="177" y="134"/>
                    </a:cubicBezTo>
                    <a:cubicBezTo>
                      <a:pt x="188" y="126"/>
                      <a:pt x="188" y="126"/>
                      <a:pt x="188" y="126"/>
                    </a:cubicBezTo>
                    <a:cubicBezTo>
                      <a:pt x="188" y="126"/>
                      <a:pt x="196" y="129"/>
                      <a:pt x="199" y="128"/>
                    </a:cubicBezTo>
                    <a:cubicBezTo>
                      <a:pt x="200" y="128"/>
                      <a:pt x="202" y="128"/>
                      <a:pt x="203" y="127"/>
                    </a:cubicBezTo>
                    <a:cubicBezTo>
                      <a:pt x="202" y="123"/>
                      <a:pt x="202" y="123"/>
                      <a:pt x="202" y="123"/>
                    </a:cubicBezTo>
                    <a:cubicBezTo>
                      <a:pt x="203" y="117"/>
                      <a:pt x="203" y="117"/>
                      <a:pt x="203" y="117"/>
                    </a:cubicBezTo>
                    <a:cubicBezTo>
                      <a:pt x="203" y="117"/>
                      <a:pt x="206" y="117"/>
                      <a:pt x="208" y="114"/>
                    </a:cubicBezTo>
                    <a:cubicBezTo>
                      <a:pt x="208" y="112"/>
                      <a:pt x="205" y="108"/>
                      <a:pt x="205" y="108"/>
                    </a:cubicBezTo>
                    <a:cubicBezTo>
                      <a:pt x="205" y="108"/>
                      <a:pt x="214" y="106"/>
                      <a:pt x="215" y="104"/>
                    </a:cubicBezTo>
                    <a:cubicBezTo>
                      <a:pt x="215" y="102"/>
                      <a:pt x="205" y="96"/>
                      <a:pt x="205" y="96"/>
                    </a:cubicBezTo>
                    <a:close/>
                    <a:moveTo>
                      <a:pt x="28" y="91"/>
                    </a:moveTo>
                    <a:cubicBezTo>
                      <a:pt x="24" y="88"/>
                      <a:pt x="24" y="88"/>
                      <a:pt x="24" y="88"/>
                    </a:cubicBezTo>
                    <a:cubicBezTo>
                      <a:pt x="24" y="88"/>
                      <a:pt x="22" y="90"/>
                      <a:pt x="21" y="91"/>
                    </a:cubicBezTo>
                    <a:cubicBezTo>
                      <a:pt x="20" y="92"/>
                      <a:pt x="15" y="93"/>
                      <a:pt x="15" y="93"/>
                    </a:cubicBezTo>
                    <a:cubicBezTo>
                      <a:pt x="15" y="93"/>
                      <a:pt x="18" y="98"/>
                      <a:pt x="16" y="99"/>
                    </a:cubicBezTo>
                    <a:cubicBezTo>
                      <a:pt x="14" y="99"/>
                      <a:pt x="12" y="94"/>
                      <a:pt x="12" y="94"/>
                    </a:cubicBezTo>
                    <a:cubicBezTo>
                      <a:pt x="11" y="104"/>
                      <a:pt x="11" y="104"/>
                      <a:pt x="11" y="104"/>
                    </a:cubicBezTo>
                    <a:cubicBezTo>
                      <a:pt x="6" y="102"/>
                      <a:pt x="6" y="102"/>
                      <a:pt x="6" y="102"/>
                    </a:cubicBezTo>
                    <a:cubicBezTo>
                      <a:pt x="6" y="99"/>
                      <a:pt x="6" y="99"/>
                      <a:pt x="6" y="99"/>
                    </a:cubicBezTo>
                    <a:cubicBezTo>
                      <a:pt x="0" y="99"/>
                      <a:pt x="0" y="99"/>
                      <a:pt x="0" y="99"/>
                    </a:cubicBezTo>
                    <a:cubicBezTo>
                      <a:pt x="0" y="102"/>
                      <a:pt x="0" y="102"/>
                      <a:pt x="0" y="102"/>
                    </a:cubicBezTo>
                    <a:cubicBezTo>
                      <a:pt x="4" y="105"/>
                      <a:pt x="4" y="105"/>
                      <a:pt x="4" y="105"/>
                    </a:cubicBezTo>
                    <a:cubicBezTo>
                      <a:pt x="6" y="108"/>
                      <a:pt x="6" y="108"/>
                      <a:pt x="6" y="108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14"/>
                      <a:pt x="7" y="117"/>
                      <a:pt x="9" y="118"/>
                    </a:cubicBezTo>
                    <a:cubicBezTo>
                      <a:pt x="12" y="120"/>
                      <a:pt x="16" y="119"/>
                      <a:pt x="16" y="119"/>
                    </a:cubicBezTo>
                    <a:cubicBezTo>
                      <a:pt x="16" y="119"/>
                      <a:pt x="17" y="120"/>
                      <a:pt x="17" y="123"/>
                    </a:cubicBezTo>
                    <a:cubicBezTo>
                      <a:pt x="17" y="125"/>
                      <a:pt x="16" y="126"/>
                      <a:pt x="16" y="126"/>
                    </a:cubicBezTo>
                    <a:cubicBezTo>
                      <a:pt x="13" y="125"/>
                      <a:pt x="13" y="125"/>
                      <a:pt x="13" y="125"/>
                    </a:cubicBezTo>
                    <a:cubicBezTo>
                      <a:pt x="13" y="129"/>
                      <a:pt x="13" y="129"/>
                      <a:pt x="13" y="129"/>
                    </a:cubicBezTo>
                    <a:cubicBezTo>
                      <a:pt x="13" y="131"/>
                      <a:pt x="9" y="134"/>
                      <a:pt x="9" y="134"/>
                    </a:cubicBezTo>
                    <a:cubicBezTo>
                      <a:pt x="13" y="137"/>
                      <a:pt x="13" y="137"/>
                      <a:pt x="13" y="137"/>
                    </a:cubicBezTo>
                    <a:cubicBezTo>
                      <a:pt x="13" y="137"/>
                      <a:pt x="16" y="134"/>
                      <a:pt x="18" y="130"/>
                    </a:cubicBezTo>
                    <a:cubicBezTo>
                      <a:pt x="20" y="126"/>
                      <a:pt x="20" y="118"/>
                      <a:pt x="20" y="118"/>
                    </a:cubicBezTo>
                    <a:cubicBezTo>
                      <a:pt x="20" y="118"/>
                      <a:pt x="23" y="115"/>
                      <a:pt x="24" y="114"/>
                    </a:cubicBezTo>
                    <a:cubicBezTo>
                      <a:pt x="25" y="114"/>
                      <a:pt x="32" y="112"/>
                      <a:pt x="32" y="112"/>
                    </a:cubicBezTo>
                    <a:cubicBezTo>
                      <a:pt x="41" y="103"/>
                      <a:pt x="41" y="103"/>
                      <a:pt x="41" y="103"/>
                    </a:cubicBezTo>
                    <a:cubicBezTo>
                      <a:pt x="44" y="99"/>
                      <a:pt x="44" y="99"/>
                      <a:pt x="44" y="99"/>
                    </a:cubicBezTo>
                    <a:cubicBezTo>
                      <a:pt x="48" y="93"/>
                      <a:pt x="48" y="93"/>
                      <a:pt x="48" y="93"/>
                    </a:cubicBezTo>
                    <a:cubicBezTo>
                      <a:pt x="48" y="93"/>
                      <a:pt x="39" y="87"/>
                      <a:pt x="34" y="87"/>
                    </a:cubicBezTo>
                    <a:cubicBezTo>
                      <a:pt x="30" y="87"/>
                      <a:pt x="28" y="91"/>
                      <a:pt x="28" y="91"/>
                    </a:cubicBezTo>
                    <a:close/>
                    <a:moveTo>
                      <a:pt x="14" y="72"/>
                    </a:moveTo>
                    <a:cubicBezTo>
                      <a:pt x="19" y="75"/>
                      <a:pt x="19" y="75"/>
                      <a:pt x="19" y="75"/>
                    </a:cubicBezTo>
                    <a:cubicBezTo>
                      <a:pt x="18" y="77"/>
                      <a:pt x="18" y="77"/>
                      <a:pt x="18" y="77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4" y="83"/>
                      <a:pt x="24" y="83"/>
                      <a:pt x="24" y="83"/>
                    </a:cubicBezTo>
                    <a:cubicBezTo>
                      <a:pt x="26" y="80"/>
                      <a:pt x="26" y="80"/>
                      <a:pt x="26" y="80"/>
                    </a:cubicBezTo>
                    <a:cubicBezTo>
                      <a:pt x="28" y="78"/>
                      <a:pt x="28" y="78"/>
                      <a:pt x="28" y="78"/>
                    </a:cubicBezTo>
                    <a:cubicBezTo>
                      <a:pt x="30" y="78"/>
                      <a:pt x="30" y="78"/>
                      <a:pt x="30" y="78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1" y="73"/>
                      <a:pt x="31" y="73"/>
                      <a:pt x="31" y="73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38" y="72"/>
                      <a:pt x="34" y="67"/>
                      <a:pt x="32" y="65"/>
                    </a:cubicBezTo>
                    <a:cubicBezTo>
                      <a:pt x="29" y="63"/>
                      <a:pt x="26" y="63"/>
                      <a:pt x="26" y="63"/>
                    </a:cubicBezTo>
                    <a:cubicBezTo>
                      <a:pt x="22" y="59"/>
                      <a:pt x="22" y="59"/>
                      <a:pt x="22" y="59"/>
                    </a:cubicBezTo>
                    <a:cubicBezTo>
                      <a:pt x="19" y="57"/>
                      <a:pt x="19" y="57"/>
                      <a:pt x="19" y="57"/>
                    </a:cubicBezTo>
                    <a:cubicBezTo>
                      <a:pt x="20" y="62"/>
                      <a:pt x="20" y="62"/>
                      <a:pt x="20" y="62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8" y="71"/>
                      <a:pt x="8" y="71"/>
                      <a:pt x="8" y="71"/>
                    </a:cubicBezTo>
                    <a:cubicBezTo>
                      <a:pt x="6" y="70"/>
                      <a:pt x="6" y="70"/>
                      <a:pt x="6" y="70"/>
                    </a:cubicBezTo>
                    <a:cubicBezTo>
                      <a:pt x="2" y="72"/>
                      <a:pt x="2" y="72"/>
                      <a:pt x="2" y="72"/>
                    </a:cubicBezTo>
                    <a:cubicBezTo>
                      <a:pt x="9" y="75"/>
                      <a:pt x="9" y="75"/>
                      <a:pt x="9" y="75"/>
                    </a:cubicBezTo>
                    <a:lnTo>
                      <a:pt x="14" y="72"/>
                    </a:lnTo>
                    <a:close/>
                    <a:moveTo>
                      <a:pt x="45" y="80"/>
                    </a:moveTo>
                    <a:cubicBezTo>
                      <a:pt x="45" y="83"/>
                      <a:pt x="45" y="83"/>
                      <a:pt x="45" y="83"/>
                    </a:cubicBezTo>
                    <a:cubicBezTo>
                      <a:pt x="41" y="86"/>
                      <a:pt x="41" y="86"/>
                      <a:pt x="41" y="86"/>
                    </a:cubicBezTo>
                    <a:cubicBezTo>
                      <a:pt x="44" y="88"/>
                      <a:pt x="44" y="88"/>
                      <a:pt x="44" y="88"/>
                    </a:cubicBezTo>
                    <a:cubicBezTo>
                      <a:pt x="45" y="88"/>
                      <a:pt x="45" y="88"/>
                      <a:pt x="45" y="88"/>
                    </a:cubicBezTo>
                    <a:cubicBezTo>
                      <a:pt x="48" y="91"/>
                      <a:pt x="48" y="91"/>
                      <a:pt x="48" y="91"/>
                    </a:cubicBezTo>
                    <a:cubicBezTo>
                      <a:pt x="53" y="89"/>
                      <a:pt x="53" y="89"/>
                      <a:pt x="53" y="89"/>
                    </a:cubicBezTo>
                    <a:cubicBezTo>
                      <a:pt x="51" y="83"/>
                      <a:pt x="51" y="83"/>
                      <a:pt x="51" y="83"/>
                    </a:cubicBezTo>
                    <a:lnTo>
                      <a:pt x="45" y="80"/>
                    </a:lnTo>
                    <a:close/>
                    <a:moveTo>
                      <a:pt x="42" y="62"/>
                    </a:moveTo>
                    <a:cubicBezTo>
                      <a:pt x="53" y="65"/>
                      <a:pt x="48" y="58"/>
                      <a:pt x="45" y="58"/>
                    </a:cubicBezTo>
                    <a:cubicBezTo>
                      <a:pt x="41" y="58"/>
                      <a:pt x="35" y="60"/>
                      <a:pt x="42" y="6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8" name="Weißrussland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5228644" y="2161184"/>
                <a:ext cx="1031728" cy="930833"/>
              </a:xfrm>
              <a:custGeom>
                <a:avLst/>
                <a:gdLst/>
                <a:ahLst/>
                <a:cxnLst>
                  <a:cxn ang="0">
                    <a:pos x="364" y="131"/>
                  </a:cxn>
                  <a:cxn ang="0">
                    <a:pos x="349" y="115"/>
                  </a:cxn>
                  <a:cxn ang="0">
                    <a:pos x="320" y="117"/>
                  </a:cxn>
                  <a:cxn ang="0">
                    <a:pos x="310" y="96"/>
                  </a:cxn>
                  <a:cxn ang="0">
                    <a:pos x="288" y="82"/>
                  </a:cxn>
                  <a:cxn ang="0">
                    <a:pos x="283" y="70"/>
                  </a:cxn>
                  <a:cxn ang="0">
                    <a:pos x="267" y="46"/>
                  </a:cxn>
                  <a:cxn ang="0">
                    <a:pos x="256" y="14"/>
                  </a:cxn>
                  <a:cxn ang="0">
                    <a:pos x="219" y="7"/>
                  </a:cxn>
                  <a:cxn ang="0">
                    <a:pos x="202" y="20"/>
                  </a:cxn>
                  <a:cxn ang="0">
                    <a:pos x="177" y="5"/>
                  </a:cxn>
                  <a:cxn ang="0">
                    <a:pos x="167" y="1"/>
                  </a:cxn>
                  <a:cxn ang="0">
                    <a:pos x="145" y="3"/>
                  </a:cxn>
                  <a:cxn ang="0">
                    <a:pos x="132" y="20"/>
                  </a:cxn>
                  <a:cxn ang="0">
                    <a:pos x="125" y="30"/>
                  </a:cxn>
                  <a:cxn ang="0">
                    <a:pos x="113" y="28"/>
                  </a:cxn>
                  <a:cxn ang="0">
                    <a:pos x="106" y="39"/>
                  </a:cxn>
                  <a:cxn ang="0">
                    <a:pos x="96" y="44"/>
                  </a:cxn>
                  <a:cxn ang="0">
                    <a:pos x="94" y="56"/>
                  </a:cxn>
                  <a:cxn ang="0">
                    <a:pos x="107" y="64"/>
                  </a:cxn>
                  <a:cxn ang="0">
                    <a:pos x="104" y="78"/>
                  </a:cxn>
                  <a:cxn ang="0">
                    <a:pos x="86" y="94"/>
                  </a:cxn>
                  <a:cxn ang="0">
                    <a:pos x="77" y="121"/>
                  </a:cxn>
                  <a:cxn ang="0">
                    <a:pos x="83" y="141"/>
                  </a:cxn>
                  <a:cxn ang="0">
                    <a:pos x="72" y="142"/>
                  </a:cxn>
                  <a:cxn ang="0">
                    <a:pos x="57" y="154"/>
                  </a:cxn>
                  <a:cxn ang="0">
                    <a:pos x="49" y="166"/>
                  </a:cxn>
                  <a:cxn ang="0">
                    <a:pos x="34" y="174"/>
                  </a:cxn>
                  <a:cxn ang="0">
                    <a:pos x="20" y="173"/>
                  </a:cxn>
                  <a:cxn ang="0">
                    <a:pos x="12" y="175"/>
                  </a:cxn>
                  <a:cxn ang="0">
                    <a:pos x="8" y="189"/>
                  </a:cxn>
                  <a:cxn ang="0">
                    <a:pos x="27" y="225"/>
                  </a:cxn>
                  <a:cxn ang="0">
                    <a:pos x="30" y="237"/>
                  </a:cxn>
                  <a:cxn ang="0">
                    <a:pos x="30" y="257"/>
                  </a:cxn>
                  <a:cxn ang="0">
                    <a:pos x="5" y="286"/>
                  </a:cxn>
                  <a:cxn ang="0">
                    <a:pos x="29" y="299"/>
                  </a:cxn>
                  <a:cxn ang="0">
                    <a:pos x="30" y="313"/>
                  </a:cxn>
                  <a:cxn ang="0">
                    <a:pos x="28" y="326"/>
                  </a:cxn>
                  <a:cxn ang="0">
                    <a:pos x="36" y="321"/>
                  </a:cxn>
                  <a:cxn ang="0">
                    <a:pos x="59" y="302"/>
                  </a:cxn>
                  <a:cxn ang="0">
                    <a:pos x="98" y="292"/>
                  </a:cxn>
                  <a:cxn ang="0">
                    <a:pos x="129" y="288"/>
                  </a:cxn>
                  <a:cxn ang="0">
                    <a:pos x="145" y="292"/>
                  </a:cxn>
                  <a:cxn ang="0">
                    <a:pos x="163" y="293"/>
                  </a:cxn>
                  <a:cxn ang="0">
                    <a:pos x="184" y="296"/>
                  </a:cxn>
                  <a:cxn ang="0">
                    <a:pos x="201" y="301"/>
                  </a:cxn>
                  <a:cxn ang="0">
                    <a:pos x="209" y="293"/>
                  </a:cxn>
                  <a:cxn ang="0">
                    <a:pos x="223" y="293"/>
                  </a:cxn>
                  <a:cxn ang="0">
                    <a:pos x="235" y="286"/>
                  </a:cxn>
                  <a:cxn ang="0">
                    <a:pos x="242" y="285"/>
                  </a:cxn>
                  <a:cxn ang="0">
                    <a:pos x="253" y="277"/>
                  </a:cxn>
                  <a:cxn ang="0">
                    <a:pos x="265" y="292"/>
                  </a:cxn>
                  <a:cxn ang="0">
                    <a:pos x="279" y="280"/>
                  </a:cxn>
                  <a:cxn ang="0">
                    <a:pos x="302" y="276"/>
                  </a:cxn>
                  <a:cxn ang="0">
                    <a:pos x="311" y="265"/>
                  </a:cxn>
                  <a:cxn ang="0">
                    <a:pos x="337" y="225"/>
                  </a:cxn>
                  <a:cxn ang="0">
                    <a:pos x="351" y="221"/>
                  </a:cxn>
                  <a:cxn ang="0">
                    <a:pos x="335" y="196"/>
                  </a:cxn>
                  <a:cxn ang="0">
                    <a:pos x="326" y="180"/>
                  </a:cxn>
                  <a:cxn ang="0">
                    <a:pos x="316" y="166"/>
                  </a:cxn>
                  <a:cxn ang="0">
                    <a:pos x="326" y="155"/>
                  </a:cxn>
                  <a:cxn ang="0">
                    <a:pos x="356" y="145"/>
                  </a:cxn>
                  <a:cxn ang="0">
                    <a:pos x="365" y="136"/>
                  </a:cxn>
                </a:cxnLst>
                <a:rect l="0" t="0" r="r" b="b"/>
                <a:pathLst>
                  <a:path w="365" h="330">
                    <a:moveTo>
                      <a:pt x="365" y="136"/>
                    </a:moveTo>
                    <a:cubicBezTo>
                      <a:pt x="364" y="131"/>
                      <a:pt x="364" y="131"/>
                      <a:pt x="364" y="131"/>
                    </a:cubicBezTo>
                    <a:cubicBezTo>
                      <a:pt x="344" y="122"/>
                      <a:pt x="344" y="122"/>
                      <a:pt x="344" y="122"/>
                    </a:cubicBezTo>
                    <a:cubicBezTo>
                      <a:pt x="349" y="115"/>
                      <a:pt x="349" y="115"/>
                      <a:pt x="349" y="115"/>
                    </a:cubicBezTo>
                    <a:cubicBezTo>
                      <a:pt x="333" y="113"/>
                      <a:pt x="333" y="113"/>
                      <a:pt x="333" y="113"/>
                    </a:cubicBezTo>
                    <a:cubicBezTo>
                      <a:pt x="320" y="117"/>
                      <a:pt x="320" y="117"/>
                      <a:pt x="320" y="117"/>
                    </a:cubicBezTo>
                    <a:cubicBezTo>
                      <a:pt x="320" y="117"/>
                      <a:pt x="322" y="104"/>
                      <a:pt x="319" y="101"/>
                    </a:cubicBezTo>
                    <a:cubicBezTo>
                      <a:pt x="316" y="97"/>
                      <a:pt x="310" y="96"/>
                      <a:pt x="310" y="96"/>
                    </a:cubicBezTo>
                    <a:cubicBezTo>
                      <a:pt x="310" y="96"/>
                      <a:pt x="292" y="95"/>
                      <a:pt x="291" y="91"/>
                    </a:cubicBezTo>
                    <a:cubicBezTo>
                      <a:pt x="289" y="87"/>
                      <a:pt x="288" y="82"/>
                      <a:pt x="288" y="82"/>
                    </a:cubicBezTo>
                    <a:cubicBezTo>
                      <a:pt x="280" y="80"/>
                      <a:pt x="280" y="80"/>
                      <a:pt x="280" y="80"/>
                    </a:cubicBezTo>
                    <a:cubicBezTo>
                      <a:pt x="280" y="80"/>
                      <a:pt x="289" y="73"/>
                      <a:pt x="283" y="70"/>
                    </a:cubicBezTo>
                    <a:cubicBezTo>
                      <a:pt x="276" y="66"/>
                      <a:pt x="265" y="64"/>
                      <a:pt x="265" y="64"/>
                    </a:cubicBezTo>
                    <a:cubicBezTo>
                      <a:pt x="267" y="46"/>
                      <a:pt x="267" y="46"/>
                      <a:pt x="267" y="46"/>
                    </a:cubicBezTo>
                    <a:cubicBezTo>
                      <a:pt x="255" y="30"/>
                      <a:pt x="255" y="30"/>
                      <a:pt x="255" y="30"/>
                    </a:cubicBezTo>
                    <a:cubicBezTo>
                      <a:pt x="255" y="30"/>
                      <a:pt x="263" y="21"/>
                      <a:pt x="256" y="14"/>
                    </a:cubicBezTo>
                    <a:cubicBezTo>
                      <a:pt x="250" y="8"/>
                      <a:pt x="244" y="11"/>
                      <a:pt x="238" y="8"/>
                    </a:cubicBezTo>
                    <a:cubicBezTo>
                      <a:pt x="233" y="3"/>
                      <a:pt x="225" y="3"/>
                      <a:pt x="219" y="7"/>
                    </a:cubicBezTo>
                    <a:cubicBezTo>
                      <a:pt x="211" y="10"/>
                      <a:pt x="205" y="12"/>
                      <a:pt x="205" y="12"/>
                    </a:cubicBezTo>
                    <a:cubicBezTo>
                      <a:pt x="205" y="12"/>
                      <a:pt x="211" y="20"/>
                      <a:pt x="202" y="20"/>
                    </a:cubicBezTo>
                    <a:cubicBezTo>
                      <a:pt x="191" y="18"/>
                      <a:pt x="203" y="9"/>
                      <a:pt x="197" y="5"/>
                    </a:cubicBezTo>
                    <a:cubicBezTo>
                      <a:pt x="192" y="0"/>
                      <a:pt x="178" y="2"/>
                      <a:pt x="177" y="5"/>
                    </a:cubicBezTo>
                    <a:cubicBezTo>
                      <a:pt x="175" y="6"/>
                      <a:pt x="176" y="12"/>
                      <a:pt x="171" y="11"/>
                    </a:cubicBezTo>
                    <a:cubicBezTo>
                      <a:pt x="164" y="10"/>
                      <a:pt x="172" y="2"/>
                      <a:pt x="167" y="1"/>
                    </a:cubicBezTo>
                    <a:cubicBezTo>
                      <a:pt x="161" y="0"/>
                      <a:pt x="155" y="5"/>
                      <a:pt x="152" y="5"/>
                    </a:cubicBezTo>
                    <a:cubicBezTo>
                      <a:pt x="149" y="5"/>
                      <a:pt x="147" y="3"/>
                      <a:pt x="145" y="3"/>
                    </a:cubicBezTo>
                    <a:cubicBezTo>
                      <a:pt x="143" y="6"/>
                      <a:pt x="141" y="6"/>
                      <a:pt x="141" y="6"/>
                    </a:cubicBezTo>
                    <a:cubicBezTo>
                      <a:pt x="132" y="20"/>
                      <a:pt x="132" y="20"/>
                      <a:pt x="132" y="20"/>
                    </a:cubicBezTo>
                    <a:cubicBezTo>
                      <a:pt x="132" y="20"/>
                      <a:pt x="135" y="26"/>
                      <a:pt x="132" y="29"/>
                    </a:cubicBezTo>
                    <a:cubicBezTo>
                      <a:pt x="129" y="31"/>
                      <a:pt x="125" y="30"/>
                      <a:pt x="125" y="30"/>
                    </a:cubicBezTo>
                    <a:cubicBezTo>
                      <a:pt x="125" y="30"/>
                      <a:pt x="122" y="31"/>
                      <a:pt x="120" y="31"/>
                    </a:cubicBezTo>
                    <a:cubicBezTo>
                      <a:pt x="118" y="31"/>
                      <a:pt x="113" y="28"/>
                      <a:pt x="113" y="28"/>
                    </a:cubicBezTo>
                    <a:cubicBezTo>
                      <a:pt x="109" y="30"/>
                      <a:pt x="109" y="30"/>
                      <a:pt x="109" y="30"/>
                    </a:cubicBezTo>
                    <a:cubicBezTo>
                      <a:pt x="109" y="30"/>
                      <a:pt x="109" y="37"/>
                      <a:pt x="106" y="39"/>
                    </a:cubicBezTo>
                    <a:cubicBezTo>
                      <a:pt x="104" y="42"/>
                      <a:pt x="100" y="41"/>
                      <a:pt x="100" y="41"/>
                    </a:cubicBezTo>
                    <a:cubicBezTo>
                      <a:pt x="96" y="44"/>
                      <a:pt x="96" y="44"/>
                      <a:pt x="96" y="44"/>
                    </a:cubicBezTo>
                    <a:cubicBezTo>
                      <a:pt x="96" y="50"/>
                      <a:pt x="96" y="50"/>
                      <a:pt x="96" y="50"/>
                    </a:cubicBezTo>
                    <a:cubicBezTo>
                      <a:pt x="94" y="56"/>
                      <a:pt x="94" y="56"/>
                      <a:pt x="94" y="56"/>
                    </a:cubicBezTo>
                    <a:cubicBezTo>
                      <a:pt x="93" y="66"/>
                      <a:pt x="93" y="66"/>
                      <a:pt x="93" y="66"/>
                    </a:cubicBezTo>
                    <a:cubicBezTo>
                      <a:pt x="93" y="66"/>
                      <a:pt x="106" y="61"/>
                      <a:pt x="107" y="64"/>
                    </a:cubicBezTo>
                    <a:cubicBezTo>
                      <a:pt x="108" y="68"/>
                      <a:pt x="104" y="73"/>
                      <a:pt x="104" y="73"/>
                    </a:cubicBezTo>
                    <a:cubicBezTo>
                      <a:pt x="104" y="78"/>
                      <a:pt x="104" y="78"/>
                      <a:pt x="104" y="78"/>
                    </a:cubicBezTo>
                    <a:cubicBezTo>
                      <a:pt x="89" y="82"/>
                      <a:pt x="89" y="82"/>
                      <a:pt x="89" y="82"/>
                    </a:cubicBezTo>
                    <a:cubicBezTo>
                      <a:pt x="89" y="82"/>
                      <a:pt x="90" y="92"/>
                      <a:pt x="86" y="94"/>
                    </a:cubicBezTo>
                    <a:cubicBezTo>
                      <a:pt x="81" y="95"/>
                      <a:pt x="74" y="100"/>
                      <a:pt x="74" y="104"/>
                    </a:cubicBezTo>
                    <a:cubicBezTo>
                      <a:pt x="74" y="109"/>
                      <a:pt x="77" y="121"/>
                      <a:pt x="77" y="121"/>
                    </a:cubicBezTo>
                    <a:cubicBezTo>
                      <a:pt x="74" y="137"/>
                      <a:pt x="74" y="137"/>
                      <a:pt x="74" y="137"/>
                    </a:cubicBezTo>
                    <a:cubicBezTo>
                      <a:pt x="74" y="137"/>
                      <a:pt x="83" y="136"/>
                      <a:pt x="83" y="141"/>
                    </a:cubicBezTo>
                    <a:cubicBezTo>
                      <a:pt x="85" y="148"/>
                      <a:pt x="78" y="153"/>
                      <a:pt x="75" y="150"/>
                    </a:cubicBezTo>
                    <a:cubicBezTo>
                      <a:pt x="72" y="147"/>
                      <a:pt x="76" y="141"/>
                      <a:pt x="72" y="142"/>
                    </a:cubicBezTo>
                    <a:cubicBezTo>
                      <a:pt x="67" y="142"/>
                      <a:pt x="61" y="144"/>
                      <a:pt x="61" y="144"/>
                    </a:cubicBezTo>
                    <a:cubicBezTo>
                      <a:pt x="57" y="154"/>
                      <a:pt x="57" y="154"/>
                      <a:pt x="57" y="154"/>
                    </a:cubicBezTo>
                    <a:cubicBezTo>
                      <a:pt x="57" y="154"/>
                      <a:pt x="49" y="151"/>
                      <a:pt x="47" y="154"/>
                    </a:cubicBezTo>
                    <a:cubicBezTo>
                      <a:pt x="46" y="156"/>
                      <a:pt x="53" y="165"/>
                      <a:pt x="49" y="166"/>
                    </a:cubicBezTo>
                    <a:cubicBezTo>
                      <a:pt x="45" y="168"/>
                      <a:pt x="41" y="166"/>
                      <a:pt x="41" y="166"/>
                    </a:cubicBezTo>
                    <a:cubicBezTo>
                      <a:pt x="34" y="174"/>
                      <a:pt x="34" y="174"/>
                      <a:pt x="34" y="174"/>
                    </a:cubicBezTo>
                    <a:cubicBezTo>
                      <a:pt x="27" y="171"/>
                      <a:pt x="27" y="171"/>
                      <a:pt x="27" y="171"/>
                    </a:cubicBezTo>
                    <a:cubicBezTo>
                      <a:pt x="20" y="173"/>
                      <a:pt x="20" y="173"/>
                      <a:pt x="20" y="173"/>
                    </a:cubicBezTo>
                    <a:cubicBezTo>
                      <a:pt x="13" y="171"/>
                      <a:pt x="13" y="171"/>
                      <a:pt x="13" y="171"/>
                    </a:cubicBezTo>
                    <a:cubicBezTo>
                      <a:pt x="12" y="175"/>
                      <a:pt x="12" y="175"/>
                      <a:pt x="12" y="175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8" y="189"/>
                      <a:pt x="8" y="189"/>
                      <a:pt x="8" y="189"/>
                    </a:cubicBezTo>
                    <a:cubicBezTo>
                      <a:pt x="8" y="189"/>
                      <a:pt x="9" y="195"/>
                      <a:pt x="11" y="201"/>
                    </a:cubicBezTo>
                    <a:cubicBezTo>
                      <a:pt x="12" y="207"/>
                      <a:pt x="27" y="225"/>
                      <a:pt x="27" y="225"/>
                    </a:cubicBezTo>
                    <a:cubicBezTo>
                      <a:pt x="25" y="229"/>
                      <a:pt x="25" y="229"/>
                      <a:pt x="25" y="229"/>
                    </a:cubicBezTo>
                    <a:cubicBezTo>
                      <a:pt x="30" y="237"/>
                      <a:pt x="30" y="237"/>
                      <a:pt x="30" y="237"/>
                    </a:cubicBezTo>
                    <a:cubicBezTo>
                      <a:pt x="28" y="238"/>
                      <a:pt x="28" y="238"/>
                      <a:pt x="28" y="238"/>
                    </a:cubicBezTo>
                    <a:cubicBezTo>
                      <a:pt x="30" y="257"/>
                      <a:pt x="30" y="257"/>
                      <a:pt x="30" y="257"/>
                    </a:cubicBezTo>
                    <a:cubicBezTo>
                      <a:pt x="30" y="257"/>
                      <a:pt x="18" y="260"/>
                      <a:pt x="12" y="265"/>
                    </a:cubicBezTo>
                    <a:cubicBezTo>
                      <a:pt x="6" y="271"/>
                      <a:pt x="5" y="286"/>
                      <a:pt x="5" y="286"/>
                    </a:cubicBezTo>
                    <a:cubicBezTo>
                      <a:pt x="5" y="286"/>
                      <a:pt x="12" y="286"/>
                      <a:pt x="22" y="291"/>
                    </a:cubicBezTo>
                    <a:cubicBezTo>
                      <a:pt x="31" y="294"/>
                      <a:pt x="29" y="299"/>
                      <a:pt x="29" y="299"/>
                    </a:cubicBezTo>
                    <a:cubicBezTo>
                      <a:pt x="27" y="307"/>
                      <a:pt x="27" y="307"/>
                      <a:pt x="27" y="307"/>
                    </a:cubicBezTo>
                    <a:cubicBezTo>
                      <a:pt x="30" y="313"/>
                      <a:pt x="30" y="313"/>
                      <a:pt x="30" y="313"/>
                    </a:cubicBezTo>
                    <a:cubicBezTo>
                      <a:pt x="26" y="317"/>
                      <a:pt x="26" y="317"/>
                      <a:pt x="26" y="317"/>
                    </a:cubicBezTo>
                    <a:cubicBezTo>
                      <a:pt x="26" y="317"/>
                      <a:pt x="26" y="323"/>
                      <a:pt x="28" y="326"/>
                    </a:cubicBezTo>
                    <a:cubicBezTo>
                      <a:pt x="29" y="327"/>
                      <a:pt x="30" y="329"/>
                      <a:pt x="31" y="330"/>
                    </a:cubicBezTo>
                    <a:cubicBezTo>
                      <a:pt x="31" y="328"/>
                      <a:pt x="31" y="321"/>
                      <a:pt x="36" y="321"/>
                    </a:cubicBezTo>
                    <a:cubicBezTo>
                      <a:pt x="41" y="321"/>
                      <a:pt x="42" y="326"/>
                      <a:pt x="50" y="320"/>
                    </a:cubicBezTo>
                    <a:cubicBezTo>
                      <a:pt x="59" y="314"/>
                      <a:pt x="51" y="307"/>
                      <a:pt x="59" y="302"/>
                    </a:cubicBezTo>
                    <a:cubicBezTo>
                      <a:pt x="66" y="297"/>
                      <a:pt x="72" y="300"/>
                      <a:pt x="80" y="296"/>
                    </a:cubicBezTo>
                    <a:cubicBezTo>
                      <a:pt x="89" y="292"/>
                      <a:pt x="90" y="291"/>
                      <a:pt x="98" y="292"/>
                    </a:cubicBezTo>
                    <a:cubicBezTo>
                      <a:pt x="107" y="293"/>
                      <a:pt x="110" y="290"/>
                      <a:pt x="115" y="288"/>
                    </a:cubicBezTo>
                    <a:cubicBezTo>
                      <a:pt x="121" y="286"/>
                      <a:pt x="129" y="288"/>
                      <a:pt x="129" y="288"/>
                    </a:cubicBezTo>
                    <a:cubicBezTo>
                      <a:pt x="139" y="288"/>
                      <a:pt x="139" y="288"/>
                      <a:pt x="139" y="288"/>
                    </a:cubicBezTo>
                    <a:cubicBezTo>
                      <a:pt x="145" y="292"/>
                      <a:pt x="145" y="292"/>
                      <a:pt x="145" y="292"/>
                    </a:cubicBezTo>
                    <a:cubicBezTo>
                      <a:pt x="152" y="288"/>
                      <a:pt x="152" y="288"/>
                      <a:pt x="152" y="288"/>
                    </a:cubicBezTo>
                    <a:cubicBezTo>
                      <a:pt x="163" y="293"/>
                      <a:pt x="163" y="293"/>
                      <a:pt x="163" y="293"/>
                    </a:cubicBezTo>
                    <a:cubicBezTo>
                      <a:pt x="163" y="293"/>
                      <a:pt x="169" y="281"/>
                      <a:pt x="174" y="288"/>
                    </a:cubicBezTo>
                    <a:cubicBezTo>
                      <a:pt x="179" y="293"/>
                      <a:pt x="176" y="298"/>
                      <a:pt x="184" y="296"/>
                    </a:cubicBezTo>
                    <a:cubicBezTo>
                      <a:pt x="192" y="294"/>
                      <a:pt x="196" y="295"/>
                      <a:pt x="196" y="295"/>
                    </a:cubicBezTo>
                    <a:cubicBezTo>
                      <a:pt x="196" y="295"/>
                      <a:pt x="197" y="301"/>
                      <a:pt x="201" y="301"/>
                    </a:cubicBezTo>
                    <a:cubicBezTo>
                      <a:pt x="204" y="301"/>
                      <a:pt x="201" y="293"/>
                      <a:pt x="201" y="293"/>
                    </a:cubicBezTo>
                    <a:cubicBezTo>
                      <a:pt x="209" y="293"/>
                      <a:pt x="209" y="293"/>
                      <a:pt x="209" y="293"/>
                    </a:cubicBezTo>
                    <a:cubicBezTo>
                      <a:pt x="218" y="285"/>
                      <a:pt x="218" y="285"/>
                      <a:pt x="218" y="285"/>
                    </a:cubicBezTo>
                    <a:cubicBezTo>
                      <a:pt x="223" y="293"/>
                      <a:pt x="223" y="293"/>
                      <a:pt x="223" y="293"/>
                    </a:cubicBezTo>
                    <a:cubicBezTo>
                      <a:pt x="226" y="288"/>
                      <a:pt x="226" y="288"/>
                      <a:pt x="226" y="288"/>
                    </a:cubicBezTo>
                    <a:cubicBezTo>
                      <a:pt x="235" y="286"/>
                      <a:pt x="235" y="286"/>
                      <a:pt x="235" y="286"/>
                    </a:cubicBezTo>
                    <a:cubicBezTo>
                      <a:pt x="235" y="286"/>
                      <a:pt x="233" y="295"/>
                      <a:pt x="238" y="294"/>
                    </a:cubicBezTo>
                    <a:cubicBezTo>
                      <a:pt x="243" y="293"/>
                      <a:pt x="242" y="285"/>
                      <a:pt x="242" y="285"/>
                    </a:cubicBezTo>
                    <a:cubicBezTo>
                      <a:pt x="251" y="283"/>
                      <a:pt x="251" y="283"/>
                      <a:pt x="251" y="283"/>
                    </a:cubicBezTo>
                    <a:cubicBezTo>
                      <a:pt x="253" y="277"/>
                      <a:pt x="253" y="277"/>
                      <a:pt x="253" y="277"/>
                    </a:cubicBezTo>
                    <a:cubicBezTo>
                      <a:pt x="259" y="280"/>
                      <a:pt x="259" y="280"/>
                      <a:pt x="259" y="280"/>
                    </a:cubicBezTo>
                    <a:cubicBezTo>
                      <a:pt x="259" y="280"/>
                      <a:pt x="259" y="293"/>
                      <a:pt x="265" y="292"/>
                    </a:cubicBezTo>
                    <a:cubicBezTo>
                      <a:pt x="270" y="292"/>
                      <a:pt x="270" y="284"/>
                      <a:pt x="270" y="284"/>
                    </a:cubicBezTo>
                    <a:cubicBezTo>
                      <a:pt x="279" y="280"/>
                      <a:pt x="279" y="280"/>
                      <a:pt x="279" y="280"/>
                    </a:cubicBezTo>
                    <a:cubicBezTo>
                      <a:pt x="282" y="283"/>
                      <a:pt x="282" y="283"/>
                      <a:pt x="282" y="283"/>
                    </a:cubicBezTo>
                    <a:cubicBezTo>
                      <a:pt x="282" y="283"/>
                      <a:pt x="295" y="269"/>
                      <a:pt x="302" y="276"/>
                    </a:cubicBezTo>
                    <a:cubicBezTo>
                      <a:pt x="307" y="281"/>
                      <a:pt x="313" y="291"/>
                      <a:pt x="317" y="286"/>
                    </a:cubicBezTo>
                    <a:cubicBezTo>
                      <a:pt x="320" y="281"/>
                      <a:pt x="310" y="279"/>
                      <a:pt x="311" y="265"/>
                    </a:cubicBezTo>
                    <a:cubicBezTo>
                      <a:pt x="312" y="252"/>
                      <a:pt x="313" y="233"/>
                      <a:pt x="324" y="232"/>
                    </a:cubicBezTo>
                    <a:cubicBezTo>
                      <a:pt x="335" y="231"/>
                      <a:pt x="337" y="225"/>
                      <a:pt x="337" y="225"/>
                    </a:cubicBezTo>
                    <a:cubicBezTo>
                      <a:pt x="347" y="225"/>
                      <a:pt x="347" y="225"/>
                      <a:pt x="347" y="225"/>
                    </a:cubicBezTo>
                    <a:cubicBezTo>
                      <a:pt x="351" y="221"/>
                      <a:pt x="351" y="221"/>
                      <a:pt x="351" y="221"/>
                    </a:cubicBezTo>
                    <a:cubicBezTo>
                      <a:pt x="339" y="212"/>
                      <a:pt x="339" y="212"/>
                      <a:pt x="339" y="212"/>
                    </a:cubicBezTo>
                    <a:cubicBezTo>
                      <a:pt x="339" y="212"/>
                      <a:pt x="338" y="200"/>
                      <a:pt x="335" y="196"/>
                    </a:cubicBezTo>
                    <a:cubicBezTo>
                      <a:pt x="333" y="192"/>
                      <a:pt x="331" y="191"/>
                      <a:pt x="331" y="191"/>
                    </a:cubicBezTo>
                    <a:cubicBezTo>
                      <a:pt x="331" y="191"/>
                      <a:pt x="333" y="185"/>
                      <a:pt x="326" y="180"/>
                    </a:cubicBezTo>
                    <a:cubicBezTo>
                      <a:pt x="321" y="175"/>
                      <a:pt x="313" y="173"/>
                      <a:pt x="313" y="173"/>
                    </a:cubicBezTo>
                    <a:cubicBezTo>
                      <a:pt x="316" y="166"/>
                      <a:pt x="316" y="166"/>
                      <a:pt x="316" y="166"/>
                    </a:cubicBezTo>
                    <a:cubicBezTo>
                      <a:pt x="315" y="158"/>
                      <a:pt x="315" y="158"/>
                      <a:pt x="315" y="158"/>
                    </a:cubicBezTo>
                    <a:cubicBezTo>
                      <a:pt x="326" y="155"/>
                      <a:pt x="326" y="155"/>
                      <a:pt x="326" y="155"/>
                    </a:cubicBezTo>
                    <a:cubicBezTo>
                      <a:pt x="326" y="155"/>
                      <a:pt x="335" y="163"/>
                      <a:pt x="344" y="157"/>
                    </a:cubicBezTo>
                    <a:cubicBezTo>
                      <a:pt x="353" y="153"/>
                      <a:pt x="356" y="145"/>
                      <a:pt x="356" y="145"/>
                    </a:cubicBezTo>
                    <a:cubicBezTo>
                      <a:pt x="354" y="140"/>
                      <a:pt x="354" y="140"/>
                      <a:pt x="354" y="140"/>
                    </a:cubicBezTo>
                    <a:lnTo>
                      <a:pt x="365" y="13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49" name="Lettland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893414" y="1881283"/>
                <a:ext cx="753455" cy="426360"/>
              </a:xfrm>
              <a:custGeom>
                <a:avLst/>
                <a:gdLst/>
                <a:ahLst/>
                <a:cxnLst>
                  <a:cxn ang="0">
                    <a:pos x="264" y="89"/>
                  </a:cxn>
                  <a:cxn ang="0">
                    <a:pos x="259" y="74"/>
                  </a:cxn>
                  <a:cxn ang="0">
                    <a:pos x="255" y="68"/>
                  </a:cxn>
                  <a:cxn ang="0">
                    <a:pos x="249" y="61"/>
                  </a:cxn>
                  <a:cxn ang="0">
                    <a:pos x="237" y="61"/>
                  </a:cxn>
                  <a:cxn ang="0">
                    <a:pos x="237" y="46"/>
                  </a:cxn>
                  <a:cxn ang="0">
                    <a:pos x="240" y="31"/>
                  </a:cxn>
                  <a:cxn ang="0">
                    <a:pos x="225" y="25"/>
                  </a:cxn>
                  <a:cxn ang="0">
                    <a:pos x="212" y="20"/>
                  </a:cxn>
                  <a:cxn ang="0">
                    <a:pos x="190" y="26"/>
                  </a:cxn>
                  <a:cxn ang="0">
                    <a:pos x="177" y="23"/>
                  </a:cxn>
                  <a:cxn ang="0">
                    <a:pos x="167" y="13"/>
                  </a:cxn>
                  <a:cxn ang="0">
                    <a:pos x="161" y="11"/>
                  </a:cxn>
                  <a:cxn ang="0">
                    <a:pos x="153" y="9"/>
                  </a:cxn>
                  <a:cxn ang="0">
                    <a:pos x="146" y="4"/>
                  </a:cxn>
                  <a:cxn ang="0">
                    <a:pos x="139" y="5"/>
                  </a:cxn>
                  <a:cxn ang="0">
                    <a:pos x="132" y="0"/>
                  </a:cxn>
                  <a:cxn ang="0">
                    <a:pos x="121" y="7"/>
                  </a:cxn>
                  <a:cxn ang="0">
                    <a:pos x="115" y="11"/>
                  </a:cxn>
                  <a:cxn ang="0">
                    <a:pos x="111" y="18"/>
                  </a:cxn>
                  <a:cxn ang="0">
                    <a:pos x="109" y="23"/>
                  </a:cxn>
                  <a:cxn ang="0">
                    <a:pos x="117" y="60"/>
                  </a:cxn>
                  <a:cxn ang="0">
                    <a:pos x="95" y="79"/>
                  </a:cxn>
                  <a:cxn ang="0">
                    <a:pos x="78" y="75"/>
                  </a:cxn>
                  <a:cxn ang="0">
                    <a:pos x="73" y="62"/>
                  </a:cxn>
                  <a:cxn ang="0">
                    <a:pos x="65" y="56"/>
                  </a:cxn>
                  <a:cxn ang="0">
                    <a:pos x="51" y="46"/>
                  </a:cxn>
                  <a:cxn ang="0">
                    <a:pos x="18" y="54"/>
                  </a:cxn>
                  <a:cxn ang="0">
                    <a:pos x="12" y="88"/>
                  </a:cxn>
                  <a:cxn ang="0">
                    <a:pos x="2" y="116"/>
                  </a:cxn>
                  <a:cxn ang="0">
                    <a:pos x="2" y="127"/>
                  </a:cxn>
                  <a:cxn ang="0">
                    <a:pos x="4" y="123"/>
                  </a:cxn>
                  <a:cxn ang="0">
                    <a:pos x="3" y="132"/>
                  </a:cxn>
                  <a:cxn ang="0">
                    <a:pos x="0" y="135"/>
                  </a:cxn>
                  <a:cxn ang="0">
                    <a:pos x="5" y="151"/>
                  </a:cxn>
                  <a:cxn ang="0">
                    <a:pos x="10" y="149"/>
                  </a:cxn>
                  <a:cxn ang="0">
                    <a:pos x="21" y="133"/>
                  </a:cxn>
                  <a:cxn ang="0">
                    <a:pos x="33" y="127"/>
                  </a:cxn>
                  <a:cxn ang="0">
                    <a:pos x="41" y="123"/>
                  </a:cxn>
                  <a:cxn ang="0">
                    <a:pos x="63" y="125"/>
                  </a:cxn>
                  <a:cxn ang="0">
                    <a:pos x="75" y="119"/>
                  </a:cxn>
                  <a:cxn ang="0">
                    <a:pos x="80" y="125"/>
                  </a:cxn>
                  <a:cxn ang="0">
                    <a:pos x="88" y="119"/>
                  </a:cxn>
                  <a:cxn ang="0">
                    <a:pos x="99" y="117"/>
                  </a:cxn>
                  <a:cxn ang="0">
                    <a:pos x="118" y="122"/>
                  </a:cxn>
                  <a:cxn ang="0">
                    <a:pos x="129" y="120"/>
                  </a:cxn>
                  <a:cxn ang="0">
                    <a:pos x="135" y="112"/>
                  </a:cxn>
                  <a:cxn ang="0">
                    <a:pos x="147" y="109"/>
                  </a:cxn>
                  <a:cxn ang="0">
                    <a:pos x="174" y="119"/>
                  </a:cxn>
                  <a:cxn ang="0">
                    <a:pos x="191" y="126"/>
                  </a:cxn>
                  <a:cxn ang="0">
                    <a:pos x="201" y="136"/>
                  </a:cxn>
                  <a:cxn ang="0">
                    <a:pos x="215" y="143"/>
                  </a:cxn>
                  <a:cxn ang="0">
                    <a:pos x="225" y="138"/>
                  </a:cxn>
                  <a:cxn ang="0">
                    <a:pos x="232" y="127"/>
                  </a:cxn>
                  <a:cxn ang="0">
                    <a:pos x="244" y="129"/>
                  </a:cxn>
                  <a:cxn ang="0">
                    <a:pos x="251" y="119"/>
                  </a:cxn>
                  <a:cxn ang="0">
                    <a:pos x="265" y="101"/>
                  </a:cxn>
                </a:cxnLst>
                <a:rect l="0" t="0" r="r" b="b"/>
                <a:pathLst>
                  <a:path w="267" h="151">
                    <a:moveTo>
                      <a:pt x="266" y="90"/>
                    </a:moveTo>
                    <a:cubicBezTo>
                      <a:pt x="264" y="89"/>
                      <a:pt x="264" y="89"/>
                      <a:pt x="264" y="89"/>
                    </a:cubicBezTo>
                    <a:cubicBezTo>
                      <a:pt x="262" y="83"/>
                      <a:pt x="262" y="83"/>
                      <a:pt x="262" y="83"/>
                    </a:cubicBezTo>
                    <a:cubicBezTo>
                      <a:pt x="259" y="74"/>
                      <a:pt x="259" y="74"/>
                      <a:pt x="259" y="74"/>
                    </a:cubicBezTo>
                    <a:cubicBezTo>
                      <a:pt x="256" y="73"/>
                      <a:pt x="256" y="73"/>
                      <a:pt x="256" y="73"/>
                    </a:cubicBezTo>
                    <a:cubicBezTo>
                      <a:pt x="255" y="68"/>
                      <a:pt x="255" y="68"/>
                      <a:pt x="255" y="68"/>
                    </a:cubicBezTo>
                    <a:cubicBezTo>
                      <a:pt x="247" y="66"/>
                      <a:pt x="247" y="66"/>
                      <a:pt x="247" y="66"/>
                    </a:cubicBezTo>
                    <a:cubicBezTo>
                      <a:pt x="249" y="61"/>
                      <a:pt x="249" y="61"/>
                      <a:pt x="249" y="61"/>
                    </a:cubicBezTo>
                    <a:cubicBezTo>
                      <a:pt x="249" y="61"/>
                      <a:pt x="247" y="58"/>
                      <a:pt x="245" y="58"/>
                    </a:cubicBezTo>
                    <a:cubicBezTo>
                      <a:pt x="242" y="58"/>
                      <a:pt x="237" y="61"/>
                      <a:pt x="237" y="61"/>
                    </a:cubicBezTo>
                    <a:cubicBezTo>
                      <a:pt x="239" y="50"/>
                      <a:pt x="239" y="50"/>
                      <a:pt x="239" y="50"/>
                    </a:cubicBezTo>
                    <a:cubicBezTo>
                      <a:pt x="237" y="46"/>
                      <a:pt x="237" y="46"/>
                      <a:pt x="237" y="46"/>
                    </a:cubicBezTo>
                    <a:cubicBezTo>
                      <a:pt x="240" y="42"/>
                      <a:pt x="240" y="42"/>
                      <a:pt x="240" y="42"/>
                    </a:cubicBezTo>
                    <a:cubicBezTo>
                      <a:pt x="240" y="31"/>
                      <a:pt x="240" y="31"/>
                      <a:pt x="240" y="31"/>
                    </a:cubicBezTo>
                    <a:cubicBezTo>
                      <a:pt x="240" y="31"/>
                      <a:pt x="237" y="28"/>
                      <a:pt x="234" y="27"/>
                    </a:cubicBezTo>
                    <a:cubicBezTo>
                      <a:pt x="232" y="26"/>
                      <a:pt x="225" y="25"/>
                      <a:pt x="225" y="25"/>
                    </a:cubicBezTo>
                    <a:cubicBezTo>
                      <a:pt x="223" y="18"/>
                      <a:pt x="223" y="18"/>
                      <a:pt x="223" y="18"/>
                    </a:cubicBezTo>
                    <a:cubicBezTo>
                      <a:pt x="223" y="18"/>
                      <a:pt x="215" y="20"/>
                      <a:pt x="212" y="20"/>
                    </a:cubicBezTo>
                    <a:cubicBezTo>
                      <a:pt x="209" y="21"/>
                      <a:pt x="201" y="18"/>
                      <a:pt x="201" y="18"/>
                    </a:cubicBezTo>
                    <a:cubicBezTo>
                      <a:pt x="190" y="26"/>
                      <a:pt x="190" y="26"/>
                      <a:pt x="190" y="26"/>
                    </a:cubicBezTo>
                    <a:cubicBezTo>
                      <a:pt x="186" y="23"/>
                      <a:pt x="186" y="23"/>
                      <a:pt x="186" y="23"/>
                    </a:cubicBezTo>
                    <a:cubicBezTo>
                      <a:pt x="177" y="23"/>
                      <a:pt x="177" y="23"/>
                      <a:pt x="177" y="23"/>
                    </a:cubicBezTo>
                    <a:cubicBezTo>
                      <a:pt x="175" y="23"/>
                      <a:pt x="176" y="18"/>
                      <a:pt x="174" y="16"/>
                    </a:cubicBezTo>
                    <a:cubicBezTo>
                      <a:pt x="172" y="15"/>
                      <a:pt x="167" y="13"/>
                      <a:pt x="167" y="13"/>
                    </a:cubicBezTo>
                    <a:cubicBezTo>
                      <a:pt x="167" y="9"/>
                      <a:pt x="167" y="9"/>
                      <a:pt x="167" y="9"/>
                    </a:cubicBezTo>
                    <a:cubicBezTo>
                      <a:pt x="167" y="9"/>
                      <a:pt x="163" y="11"/>
                      <a:pt x="161" y="11"/>
                    </a:cubicBezTo>
                    <a:cubicBezTo>
                      <a:pt x="159" y="11"/>
                      <a:pt x="157" y="6"/>
                      <a:pt x="157" y="6"/>
                    </a:cubicBezTo>
                    <a:cubicBezTo>
                      <a:pt x="153" y="9"/>
                      <a:pt x="153" y="9"/>
                      <a:pt x="153" y="9"/>
                    </a:cubicBezTo>
                    <a:cubicBezTo>
                      <a:pt x="150" y="4"/>
                      <a:pt x="150" y="4"/>
                      <a:pt x="150" y="4"/>
                    </a:cubicBezTo>
                    <a:cubicBezTo>
                      <a:pt x="146" y="4"/>
                      <a:pt x="146" y="4"/>
                      <a:pt x="146" y="4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27" y="9"/>
                      <a:pt x="127" y="9"/>
                      <a:pt x="127" y="9"/>
                    </a:cubicBezTo>
                    <a:cubicBezTo>
                      <a:pt x="121" y="7"/>
                      <a:pt x="121" y="7"/>
                      <a:pt x="121" y="7"/>
                    </a:cubicBezTo>
                    <a:cubicBezTo>
                      <a:pt x="118" y="14"/>
                      <a:pt x="118" y="14"/>
                      <a:pt x="118" y="14"/>
                    </a:cubicBezTo>
                    <a:cubicBezTo>
                      <a:pt x="115" y="11"/>
                      <a:pt x="115" y="11"/>
                      <a:pt x="115" y="11"/>
                    </a:cubicBezTo>
                    <a:cubicBezTo>
                      <a:pt x="112" y="14"/>
                      <a:pt x="112" y="14"/>
                      <a:pt x="112" y="14"/>
                    </a:cubicBezTo>
                    <a:cubicBezTo>
                      <a:pt x="111" y="18"/>
                      <a:pt x="111" y="18"/>
                      <a:pt x="111" y="18"/>
                    </a:cubicBezTo>
                    <a:cubicBezTo>
                      <a:pt x="109" y="18"/>
                      <a:pt x="109" y="18"/>
                      <a:pt x="109" y="18"/>
                    </a:cubicBezTo>
                    <a:cubicBezTo>
                      <a:pt x="109" y="23"/>
                      <a:pt x="109" y="23"/>
                      <a:pt x="109" y="23"/>
                    </a:cubicBezTo>
                    <a:cubicBezTo>
                      <a:pt x="114" y="44"/>
                      <a:pt x="114" y="44"/>
                      <a:pt x="114" y="44"/>
                    </a:cubicBezTo>
                    <a:cubicBezTo>
                      <a:pt x="114" y="44"/>
                      <a:pt x="117" y="54"/>
                      <a:pt x="117" y="60"/>
                    </a:cubicBezTo>
                    <a:cubicBezTo>
                      <a:pt x="116" y="64"/>
                      <a:pt x="110" y="67"/>
                      <a:pt x="108" y="68"/>
                    </a:cubicBezTo>
                    <a:cubicBezTo>
                      <a:pt x="106" y="69"/>
                      <a:pt x="103" y="76"/>
                      <a:pt x="95" y="79"/>
                    </a:cubicBezTo>
                    <a:cubicBezTo>
                      <a:pt x="87" y="83"/>
                      <a:pt x="86" y="75"/>
                      <a:pt x="86" y="75"/>
                    </a:cubicBezTo>
                    <a:cubicBezTo>
                      <a:pt x="78" y="75"/>
                      <a:pt x="78" y="75"/>
                      <a:pt x="78" y="75"/>
                    </a:cubicBezTo>
                    <a:cubicBezTo>
                      <a:pt x="76" y="75"/>
                      <a:pt x="76" y="68"/>
                      <a:pt x="76" y="66"/>
                    </a:cubicBezTo>
                    <a:cubicBezTo>
                      <a:pt x="75" y="65"/>
                      <a:pt x="73" y="62"/>
                      <a:pt x="73" y="62"/>
                    </a:cubicBezTo>
                    <a:cubicBezTo>
                      <a:pt x="73" y="59"/>
                      <a:pt x="73" y="59"/>
                      <a:pt x="73" y="59"/>
                    </a:cubicBezTo>
                    <a:cubicBezTo>
                      <a:pt x="65" y="56"/>
                      <a:pt x="65" y="56"/>
                      <a:pt x="65" y="56"/>
                    </a:cubicBezTo>
                    <a:cubicBezTo>
                      <a:pt x="65" y="56"/>
                      <a:pt x="64" y="51"/>
                      <a:pt x="61" y="50"/>
                    </a:cubicBezTo>
                    <a:cubicBezTo>
                      <a:pt x="58" y="49"/>
                      <a:pt x="51" y="46"/>
                      <a:pt x="51" y="46"/>
                    </a:cubicBezTo>
                    <a:cubicBezTo>
                      <a:pt x="48" y="36"/>
                      <a:pt x="48" y="36"/>
                      <a:pt x="48" y="36"/>
                    </a:cubicBezTo>
                    <a:cubicBezTo>
                      <a:pt x="18" y="54"/>
                      <a:pt x="18" y="54"/>
                      <a:pt x="18" y="54"/>
                    </a:cubicBezTo>
                    <a:cubicBezTo>
                      <a:pt x="11" y="75"/>
                      <a:pt x="11" y="75"/>
                      <a:pt x="11" y="75"/>
                    </a:cubicBezTo>
                    <a:cubicBezTo>
                      <a:pt x="12" y="88"/>
                      <a:pt x="12" y="88"/>
                      <a:pt x="12" y="88"/>
                    </a:cubicBezTo>
                    <a:cubicBezTo>
                      <a:pt x="0" y="105"/>
                      <a:pt x="0" y="105"/>
                      <a:pt x="0" y="105"/>
                    </a:cubicBezTo>
                    <a:cubicBezTo>
                      <a:pt x="2" y="116"/>
                      <a:pt x="2" y="116"/>
                      <a:pt x="2" y="116"/>
                    </a:cubicBezTo>
                    <a:cubicBezTo>
                      <a:pt x="1" y="127"/>
                      <a:pt x="1" y="127"/>
                      <a:pt x="1" y="127"/>
                    </a:cubicBezTo>
                    <a:cubicBezTo>
                      <a:pt x="2" y="127"/>
                      <a:pt x="2" y="127"/>
                      <a:pt x="2" y="127"/>
                    </a:cubicBezTo>
                    <a:cubicBezTo>
                      <a:pt x="2" y="123"/>
                      <a:pt x="2" y="123"/>
                      <a:pt x="2" y="123"/>
                    </a:cubicBezTo>
                    <a:cubicBezTo>
                      <a:pt x="4" y="123"/>
                      <a:pt x="4" y="123"/>
                      <a:pt x="4" y="123"/>
                    </a:cubicBezTo>
                    <a:cubicBezTo>
                      <a:pt x="4" y="131"/>
                      <a:pt x="4" y="131"/>
                      <a:pt x="4" y="13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1" y="129"/>
                      <a:pt x="1" y="129"/>
                      <a:pt x="1" y="129"/>
                    </a:cubicBezTo>
                    <a:cubicBezTo>
                      <a:pt x="0" y="135"/>
                      <a:pt x="0" y="135"/>
                      <a:pt x="0" y="135"/>
                    </a:cubicBezTo>
                    <a:cubicBezTo>
                      <a:pt x="2" y="145"/>
                      <a:pt x="2" y="145"/>
                      <a:pt x="2" y="145"/>
                    </a:cubicBezTo>
                    <a:cubicBezTo>
                      <a:pt x="5" y="151"/>
                      <a:pt x="5" y="151"/>
                      <a:pt x="5" y="151"/>
                    </a:cubicBezTo>
                    <a:cubicBezTo>
                      <a:pt x="9" y="147"/>
                      <a:pt x="9" y="147"/>
                      <a:pt x="9" y="147"/>
                    </a:cubicBezTo>
                    <a:cubicBezTo>
                      <a:pt x="10" y="149"/>
                      <a:pt x="10" y="149"/>
                      <a:pt x="10" y="149"/>
                    </a:cubicBezTo>
                    <a:cubicBezTo>
                      <a:pt x="12" y="147"/>
                      <a:pt x="12" y="147"/>
                      <a:pt x="12" y="147"/>
                    </a:cubicBezTo>
                    <a:cubicBezTo>
                      <a:pt x="12" y="147"/>
                      <a:pt x="17" y="138"/>
                      <a:pt x="21" y="133"/>
                    </a:cubicBezTo>
                    <a:cubicBezTo>
                      <a:pt x="25" y="129"/>
                      <a:pt x="28" y="131"/>
                      <a:pt x="28" y="131"/>
                    </a:cubicBezTo>
                    <a:cubicBezTo>
                      <a:pt x="33" y="127"/>
                      <a:pt x="33" y="127"/>
                      <a:pt x="33" y="127"/>
                    </a:cubicBezTo>
                    <a:cubicBezTo>
                      <a:pt x="36" y="128"/>
                      <a:pt x="36" y="128"/>
                      <a:pt x="36" y="128"/>
                    </a:cubicBezTo>
                    <a:cubicBezTo>
                      <a:pt x="41" y="123"/>
                      <a:pt x="41" y="123"/>
                      <a:pt x="41" y="123"/>
                    </a:cubicBezTo>
                    <a:cubicBezTo>
                      <a:pt x="59" y="122"/>
                      <a:pt x="59" y="122"/>
                      <a:pt x="59" y="122"/>
                    </a:cubicBezTo>
                    <a:cubicBezTo>
                      <a:pt x="63" y="125"/>
                      <a:pt x="63" y="125"/>
                      <a:pt x="63" y="125"/>
                    </a:cubicBezTo>
                    <a:cubicBezTo>
                      <a:pt x="71" y="120"/>
                      <a:pt x="71" y="120"/>
                      <a:pt x="71" y="120"/>
                    </a:cubicBezTo>
                    <a:cubicBezTo>
                      <a:pt x="75" y="119"/>
                      <a:pt x="75" y="119"/>
                      <a:pt x="75" y="119"/>
                    </a:cubicBezTo>
                    <a:cubicBezTo>
                      <a:pt x="76" y="125"/>
                      <a:pt x="76" y="125"/>
                      <a:pt x="76" y="125"/>
                    </a:cubicBezTo>
                    <a:cubicBezTo>
                      <a:pt x="80" y="125"/>
                      <a:pt x="80" y="125"/>
                      <a:pt x="80" y="125"/>
                    </a:cubicBezTo>
                    <a:cubicBezTo>
                      <a:pt x="82" y="120"/>
                      <a:pt x="82" y="120"/>
                      <a:pt x="82" y="120"/>
                    </a:cubicBezTo>
                    <a:cubicBezTo>
                      <a:pt x="88" y="119"/>
                      <a:pt x="88" y="119"/>
                      <a:pt x="88" y="119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9" y="117"/>
                      <a:pt x="99" y="117"/>
                      <a:pt x="99" y="117"/>
                    </a:cubicBezTo>
                    <a:cubicBezTo>
                      <a:pt x="112" y="117"/>
                      <a:pt x="112" y="117"/>
                      <a:pt x="112" y="117"/>
                    </a:cubicBezTo>
                    <a:cubicBezTo>
                      <a:pt x="118" y="122"/>
                      <a:pt x="118" y="122"/>
                      <a:pt x="118" y="122"/>
                    </a:cubicBezTo>
                    <a:cubicBezTo>
                      <a:pt x="125" y="119"/>
                      <a:pt x="125" y="119"/>
                      <a:pt x="125" y="119"/>
                    </a:cubicBezTo>
                    <a:cubicBezTo>
                      <a:pt x="129" y="120"/>
                      <a:pt x="129" y="120"/>
                      <a:pt x="129" y="120"/>
                    </a:cubicBezTo>
                    <a:cubicBezTo>
                      <a:pt x="132" y="119"/>
                      <a:pt x="132" y="119"/>
                      <a:pt x="132" y="119"/>
                    </a:cubicBezTo>
                    <a:cubicBezTo>
                      <a:pt x="135" y="112"/>
                      <a:pt x="135" y="112"/>
                      <a:pt x="135" y="112"/>
                    </a:cubicBezTo>
                    <a:cubicBezTo>
                      <a:pt x="142" y="107"/>
                      <a:pt x="142" y="107"/>
                      <a:pt x="142" y="107"/>
                    </a:cubicBezTo>
                    <a:cubicBezTo>
                      <a:pt x="147" y="109"/>
                      <a:pt x="147" y="109"/>
                      <a:pt x="147" y="109"/>
                    </a:cubicBezTo>
                    <a:cubicBezTo>
                      <a:pt x="153" y="121"/>
                      <a:pt x="153" y="121"/>
                      <a:pt x="153" y="121"/>
                    </a:cubicBezTo>
                    <a:cubicBezTo>
                      <a:pt x="174" y="119"/>
                      <a:pt x="174" y="119"/>
                      <a:pt x="174" y="119"/>
                    </a:cubicBezTo>
                    <a:cubicBezTo>
                      <a:pt x="174" y="122"/>
                      <a:pt x="174" y="122"/>
                      <a:pt x="174" y="122"/>
                    </a:cubicBezTo>
                    <a:cubicBezTo>
                      <a:pt x="174" y="122"/>
                      <a:pt x="188" y="123"/>
                      <a:pt x="191" y="126"/>
                    </a:cubicBezTo>
                    <a:cubicBezTo>
                      <a:pt x="193" y="129"/>
                      <a:pt x="196" y="136"/>
                      <a:pt x="196" y="136"/>
                    </a:cubicBezTo>
                    <a:cubicBezTo>
                      <a:pt x="201" y="136"/>
                      <a:pt x="201" y="136"/>
                      <a:pt x="201" y="136"/>
                    </a:cubicBezTo>
                    <a:cubicBezTo>
                      <a:pt x="202" y="140"/>
                      <a:pt x="202" y="140"/>
                      <a:pt x="202" y="140"/>
                    </a:cubicBezTo>
                    <a:cubicBezTo>
                      <a:pt x="215" y="143"/>
                      <a:pt x="215" y="143"/>
                      <a:pt x="215" y="143"/>
                    </a:cubicBezTo>
                    <a:cubicBezTo>
                      <a:pt x="219" y="140"/>
                      <a:pt x="219" y="140"/>
                      <a:pt x="219" y="140"/>
                    </a:cubicBezTo>
                    <a:cubicBezTo>
                      <a:pt x="219" y="140"/>
                      <a:pt x="223" y="141"/>
                      <a:pt x="225" y="138"/>
                    </a:cubicBezTo>
                    <a:cubicBezTo>
                      <a:pt x="228" y="136"/>
                      <a:pt x="228" y="129"/>
                      <a:pt x="228" y="129"/>
                    </a:cubicBezTo>
                    <a:cubicBezTo>
                      <a:pt x="232" y="127"/>
                      <a:pt x="232" y="127"/>
                      <a:pt x="232" y="127"/>
                    </a:cubicBezTo>
                    <a:cubicBezTo>
                      <a:pt x="232" y="127"/>
                      <a:pt x="237" y="130"/>
                      <a:pt x="239" y="130"/>
                    </a:cubicBezTo>
                    <a:cubicBezTo>
                      <a:pt x="241" y="130"/>
                      <a:pt x="244" y="129"/>
                      <a:pt x="244" y="129"/>
                    </a:cubicBezTo>
                    <a:cubicBezTo>
                      <a:pt x="244" y="129"/>
                      <a:pt x="248" y="130"/>
                      <a:pt x="251" y="128"/>
                    </a:cubicBezTo>
                    <a:cubicBezTo>
                      <a:pt x="254" y="125"/>
                      <a:pt x="251" y="119"/>
                      <a:pt x="251" y="119"/>
                    </a:cubicBezTo>
                    <a:cubicBezTo>
                      <a:pt x="260" y="105"/>
                      <a:pt x="260" y="105"/>
                      <a:pt x="260" y="105"/>
                    </a:cubicBezTo>
                    <a:cubicBezTo>
                      <a:pt x="260" y="105"/>
                      <a:pt x="262" y="105"/>
                      <a:pt x="265" y="101"/>
                    </a:cubicBezTo>
                    <a:cubicBezTo>
                      <a:pt x="267" y="97"/>
                      <a:pt x="266" y="90"/>
                      <a:pt x="266" y="9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0" name="Moldawi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5785191" y="3539534"/>
                <a:ext cx="509354" cy="530509"/>
              </a:xfrm>
              <a:custGeom>
                <a:avLst/>
                <a:gdLst/>
                <a:ahLst/>
                <a:cxnLst>
                  <a:cxn ang="0">
                    <a:pos x="7" y="22"/>
                  </a:cxn>
                  <a:cxn ang="0">
                    <a:pos x="4" y="22"/>
                  </a:cxn>
                  <a:cxn ang="0">
                    <a:pos x="4" y="25"/>
                  </a:cxn>
                  <a:cxn ang="0">
                    <a:pos x="7" y="25"/>
                  </a:cxn>
                  <a:cxn ang="0">
                    <a:pos x="28" y="41"/>
                  </a:cxn>
                  <a:cxn ang="0">
                    <a:pos x="47" y="63"/>
                  </a:cxn>
                  <a:cxn ang="0">
                    <a:pos x="69" y="88"/>
                  </a:cxn>
                  <a:cxn ang="0">
                    <a:pos x="83" y="94"/>
                  </a:cxn>
                  <a:cxn ang="0">
                    <a:pos x="87" y="106"/>
                  </a:cxn>
                  <a:cxn ang="0">
                    <a:pos x="97" y="117"/>
                  </a:cxn>
                  <a:cxn ang="0">
                    <a:pos x="98" y="139"/>
                  </a:cxn>
                  <a:cxn ang="0">
                    <a:pos x="94" y="142"/>
                  </a:cxn>
                  <a:cxn ang="0">
                    <a:pos x="98" y="159"/>
                  </a:cxn>
                  <a:cxn ang="0">
                    <a:pos x="105" y="179"/>
                  </a:cxn>
                  <a:cxn ang="0">
                    <a:pos x="102" y="185"/>
                  </a:cxn>
                  <a:cxn ang="0">
                    <a:pos x="109" y="188"/>
                  </a:cxn>
                  <a:cxn ang="0">
                    <a:pos x="112" y="185"/>
                  </a:cxn>
                  <a:cxn ang="0">
                    <a:pos x="124" y="183"/>
                  </a:cxn>
                  <a:cxn ang="0">
                    <a:pos x="119" y="171"/>
                  </a:cxn>
                  <a:cxn ang="0">
                    <a:pos x="130" y="159"/>
                  </a:cxn>
                  <a:cxn ang="0">
                    <a:pos x="127" y="154"/>
                  </a:cxn>
                  <a:cxn ang="0">
                    <a:pos x="136" y="148"/>
                  </a:cxn>
                  <a:cxn ang="0">
                    <a:pos x="136" y="134"/>
                  </a:cxn>
                  <a:cxn ang="0">
                    <a:pos x="128" y="116"/>
                  </a:cxn>
                  <a:cxn ang="0">
                    <a:pos x="142" y="121"/>
                  </a:cxn>
                  <a:cxn ang="0">
                    <a:pos x="148" y="112"/>
                  </a:cxn>
                  <a:cxn ang="0">
                    <a:pos x="160" y="118"/>
                  </a:cxn>
                  <a:cxn ang="0">
                    <a:pos x="164" y="110"/>
                  </a:cxn>
                  <a:cxn ang="0">
                    <a:pos x="169" y="116"/>
                  </a:cxn>
                  <a:cxn ang="0">
                    <a:pos x="180" y="110"/>
                  </a:cxn>
                  <a:cxn ang="0">
                    <a:pos x="169" y="106"/>
                  </a:cxn>
                  <a:cxn ang="0">
                    <a:pos x="164" y="84"/>
                  </a:cxn>
                  <a:cxn ang="0">
                    <a:pos x="151" y="80"/>
                  </a:cxn>
                  <a:cxn ang="0">
                    <a:pos x="145" y="63"/>
                  </a:cxn>
                  <a:cxn ang="0">
                    <a:pos x="141" y="55"/>
                  </a:cxn>
                  <a:cxn ang="0">
                    <a:pos x="138" y="60"/>
                  </a:cxn>
                  <a:cxn ang="0">
                    <a:pos x="129" y="54"/>
                  </a:cxn>
                  <a:cxn ang="0">
                    <a:pos x="124" y="54"/>
                  </a:cxn>
                  <a:cxn ang="0">
                    <a:pos x="120" y="47"/>
                  </a:cxn>
                  <a:cxn ang="0">
                    <a:pos x="122" y="34"/>
                  </a:cxn>
                  <a:cxn ang="0">
                    <a:pos x="113" y="18"/>
                  </a:cxn>
                  <a:cxn ang="0">
                    <a:pos x="110" y="23"/>
                  </a:cxn>
                  <a:cxn ang="0">
                    <a:pos x="103" y="24"/>
                  </a:cxn>
                  <a:cxn ang="0">
                    <a:pos x="97" y="15"/>
                  </a:cxn>
                  <a:cxn ang="0">
                    <a:pos x="83" y="14"/>
                  </a:cxn>
                  <a:cxn ang="0">
                    <a:pos x="83" y="21"/>
                  </a:cxn>
                  <a:cxn ang="0">
                    <a:pos x="78" y="16"/>
                  </a:cxn>
                  <a:cxn ang="0">
                    <a:pos x="74" y="17"/>
                  </a:cxn>
                  <a:cxn ang="0">
                    <a:pos x="75" y="11"/>
                  </a:cxn>
                  <a:cxn ang="0">
                    <a:pos x="63" y="15"/>
                  </a:cxn>
                  <a:cxn ang="0">
                    <a:pos x="61" y="10"/>
                  </a:cxn>
                  <a:cxn ang="0">
                    <a:pos x="55" y="10"/>
                  </a:cxn>
                  <a:cxn ang="0">
                    <a:pos x="42" y="4"/>
                  </a:cxn>
                  <a:cxn ang="0">
                    <a:pos x="36" y="9"/>
                  </a:cxn>
                  <a:cxn ang="0">
                    <a:pos x="28" y="8"/>
                  </a:cxn>
                  <a:cxn ang="0">
                    <a:pos x="24" y="13"/>
                  </a:cxn>
                  <a:cxn ang="0">
                    <a:pos x="17" y="10"/>
                  </a:cxn>
                  <a:cxn ang="0">
                    <a:pos x="16" y="16"/>
                  </a:cxn>
                  <a:cxn ang="0">
                    <a:pos x="6" y="14"/>
                  </a:cxn>
                  <a:cxn ang="0">
                    <a:pos x="7" y="22"/>
                  </a:cxn>
                </a:cxnLst>
                <a:rect l="0" t="0" r="r" b="b"/>
                <a:pathLst>
                  <a:path w="180" h="188">
                    <a:moveTo>
                      <a:pt x="7" y="22"/>
                    </a:moveTo>
                    <a:cubicBezTo>
                      <a:pt x="4" y="22"/>
                      <a:pt x="4" y="22"/>
                      <a:pt x="4" y="2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22" y="27"/>
                      <a:pt x="28" y="41"/>
                    </a:cubicBezTo>
                    <a:cubicBezTo>
                      <a:pt x="36" y="56"/>
                      <a:pt x="41" y="59"/>
                      <a:pt x="47" y="63"/>
                    </a:cubicBezTo>
                    <a:cubicBezTo>
                      <a:pt x="53" y="69"/>
                      <a:pt x="69" y="88"/>
                      <a:pt x="69" y="88"/>
                    </a:cubicBezTo>
                    <a:cubicBezTo>
                      <a:pt x="69" y="88"/>
                      <a:pt x="82" y="90"/>
                      <a:pt x="83" y="94"/>
                    </a:cubicBezTo>
                    <a:cubicBezTo>
                      <a:pt x="86" y="99"/>
                      <a:pt x="87" y="106"/>
                      <a:pt x="87" y="106"/>
                    </a:cubicBezTo>
                    <a:cubicBezTo>
                      <a:pt x="87" y="106"/>
                      <a:pt x="95" y="108"/>
                      <a:pt x="97" y="117"/>
                    </a:cubicBezTo>
                    <a:cubicBezTo>
                      <a:pt x="98" y="125"/>
                      <a:pt x="98" y="139"/>
                      <a:pt x="98" y="139"/>
                    </a:cubicBezTo>
                    <a:cubicBezTo>
                      <a:pt x="94" y="142"/>
                      <a:pt x="94" y="142"/>
                      <a:pt x="94" y="142"/>
                    </a:cubicBezTo>
                    <a:cubicBezTo>
                      <a:pt x="98" y="159"/>
                      <a:pt x="98" y="159"/>
                      <a:pt x="98" y="159"/>
                    </a:cubicBezTo>
                    <a:cubicBezTo>
                      <a:pt x="105" y="179"/>
                      <a:pt x="105" y="179"/>
                      <a:pt x="105" y="179"/>
                    </a:cubicBezTo>
                    <a:cubicBezTo>
                      <a:pt x="102" y="185"/>
                      <a:pt x="102" y="185"/>
                      <a:pt x="102" y="185"/>
                    </a:cubicBezTo>
                    <a:cubicBezTo>
                      <a:pt x="109" y="188"/>
                      <a:pt x="109" y="188"/>
                      <a:pt x="109" y="188"/>
                    </a:cubicBezTo>
                    <a:cubicBezTo>
                      <a:pt x="112" y="185"/>
                      <a:pt x="112" y="185"/>
                      <a:pt x="112" y="185"/>
                    </a:cubicBezTo>
                    <a:cubicBezTo>
                      <a:pt x="112" y="185"/>
                      <a:pt x="121" y="187"/>
                      <a:pt x="124" y="183"/>
                    </a:cubicBezTo>
                    <a:cubicBezTo>
                      <a:pt x="127" y="180"/>
                      <a:pt x="119" y="171"/>
                      <a:pt x="119" y="171"/>
                    </a:cubicBezTo>
                    <a:cubicBezTo>
                      <a:pt x="130" y="159"/>
                      <a:pt x="130" y="159"/>
                      <a:pt x="130" y="159"/>
                    </a:cubicBezTo>
                    <a:cubicBezTo>
                      <a:pt x="127" y="154"/>
                      <a:pt x="127" y="154"/>
                      <a:pt x="127" y="154"/>
                    </a:cubicBezTo>
                    <a:cubicBezTo>
                      <a:pt x="136" y="148"/>
                      <a:pt x="136" y="148"/>
                      <a:pt x="136" y="148"/>
                    </a:cubicBezTo>
                    <a:cubicBezTo>
                      <a:pt x="136" y="134"/>
                      <a:pt x="136" y="134"/>
                      <a:pt x="136" y="134"/>
                    </a:cubicBezTo>
                    <a:cubicBezTo>
                      <a:pt x="136" y="134"/>
                      <a:pt x="123" y="121"/>
                      <a:pt x="128" y="116"/>
                    </a:cubicBezTo>
                    <a:cubicBezTo>
                      <a:pt x="144" y="103"/>
                      <a:pt x="139" y="121"/>
                      <a:pt x="142" y="121"/>
                    </a:cubicBezTo>
                    <a:cubicBezTo>
                      <a:pt x="145" y="121"/>
                      <a:pt x="148" y="112"/>
                      <a:pt x="148" y="112"/>
                    </a:cubicBezTo>
                    <a:cubicBezTo>
                      <a:pt x="148" y="112"/>
                      <a:pt x="156" y="119"/>
                      <a:pt x="160" y="118"/>
                    </a:cubicBezTo>
                    <a:cubicBezTo>
                      <a:pt x="164" y="117"/>
                      <a:pt x="162" y="110"/>
                      <a:pt x="164" y="110"/>
                    </a:cubicBezTo>
                    <a:cubicBezTo>
                      <a:pt x="167" y="110"/>
                      <a:pt x="169" y="116"/>
                      <a:pt x="169" y="116"/>
                    </a:cubicBezTo>
                    <a:cubicBezTo>
                      <a:pt x="180" y="110"/>
                      <a:pt x="180" y="110"/>
                      <a:pt x="180" y="110"/>
                    </a:cubicBezTo>
                    <a:cubicBezTo>
                      <a:pt x="180" y="110"/>
                      <a:pt x="173" y="107"/>
                      <a:pt x="169" y="106"/>
                    </a:cubicBezTo>
                    <a:cubicBezTo>
                      <a:pt x="164" y="105"/>
                      <a:pt x="169" y="89"/>
                      <a:pt x="164" y="84"/>
                    </a:cubicBezTo>
                    <a:cubicBezTo>
                      <a:pt x="161" y="77"/>
                      <a:pt x="157" y="81"/>
                      <a:pt x="151" y="80"/>
                    </a:cubicBezTo>
                    <a:cubicBezTo>
                      <a:pt x="143" y="79"/>
                      <a:pt x="145" y="63"/>
                      <a:pt x="145" y="63"/>
                    </a:cubicBezTo>
                    <a:cubicBezTo>
                      <a:pt x="141" y="55"/>
                      <a:pt x="141" y="55"/>
                      <a:pt x="141" y="55"/>
                    </a:cubicBezTo>
                    <a:cubicBezTo>
                      <a:pt x="138" y="60"/>
                      <a:pt x="138" y="60"/>
                      <a:pt x="138" y="60"/>
                    </a:cubicBezTo>
                    <a:cubicBezTo>
                      <a:pt x="138" y="60"/>
                      <a:pt x="130" y="55"/>
                      <a:pt x="129" y="54"/>
                    </a:cubicBezTo>
                    <a:cubicBezTo>
                      <a:pt x="128" y="53"/>
                      <a:pt x="124" y="54"/>
                      <a:pt x="124" y="54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20" y="47"/>
                      <a:pt x="122" y="41"/>
                      <a:pt x="122" y="34"/>
                    </a:cubicBezTo>
                    <a:cubicBezTo>
                      <a:pt x="122" y="29"/>
                      <a:pt x="113" y="18"/>
                      <a:pt x="113" y="18"/>
                    </a:cubicBezTo>
                    <a:cubicBezTo>
                      <a:pt x="110" y="23"/>
                      <a:pt x="110" y="23"/>
                      <a:pt x="110" y="23"/>
                    </a:cubicBezTo>
                    <a:cubicBezTo>
                      <a:pt x="103" y="24"/>
                      <a:pt x="103" y="24"/>
                      <a:pt x="103" y="24"/>
                    </a:cubicBezTo>
                    <a:cubicBezTo>
                      <a:pt x="97" y="15"/>
                      <a:pt x="97" y="15"/>
                      <a:pt x="97" y="15"/>
                    </a:cubicBezTo>
                    <a:cubicBezTo>
                      <a:pt x="97" y="15"/>
                      <a:pt x="87" y="14"/>
                      <a:pt x="83" y="14"/>
                    </a:cubicBezTo>
                    <a:cubicBezTo>
                      <a:pt x="80" y="14"/>
                      <a:pt x="83" y="21"/>
                      <a:pt x="83" y="21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74" y="17"/>
                      <a:pt x="74" y="17"/>
                      <a:pt x="74" y="17"/>
                    </a:cubicBezTo>
                    <a:cubicBezTo>
                      <a:pt x="75" y="11"/>
                      <a:pt x="75" y="11"/>
                      <a:pt x="75" y="11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1" y="10"/>
                      <a:pt x="61" y="10"/>
                      <a:pt x="61" y="10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55" y="10"/>
                      <a:pt x="49" y="6"/>
                      <a:pt x="42" y="4"/>
                    </a:cubicBezTo>
                    <a:cubicBezTo>
                      <a:pt x="33" y="0"/>
                      <a:pt x="36" y="9"/>
                      <a:pt x="36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7" y="10"/>
                      <a:pt x="17" y="10"/>
                      <a:pt x="17" y="10"/>
                    </a:cubicBezTo>
                    <a:cubicBezTo>
                      <a:pt x="17" y="10"/>
                      <a:pt x="19" y="16"/>
                      <a:pt x="16" y="16"/>
                    </a:cubicBezTo>
                    <a:cubicBezTo>
                      <a:pt x="13" y="16"/>
                      <a:pt x="12" y="12"/>
                      <a:pt x="6" y="14"/>
                    </a:cubicBezTo>
                    <a:cubicBezTo>
                      <a:pt x="0" y="15"/>
                      <a:pt x="7" y="22"/>
                      <a:pt x="7" y="22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1" name="Bulgari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5378360" y="4335298"/>
                <a:ext cx="847839" cy="618385"/>
              </a:xfrm>
              <a:custGeom>
                <a:avLst/>
                <a:gdLst/>
                <a:ahLst/>
                <a:cxnLst>
                  <a:cxn ang="0">
                    <a:pos x="278" y="15"/>
                  </a:cxn>
                  <a:cxn ang="0">
                    <a:pos x="262" y="3"/>
                  </a:cxn>
                  <a:cxn ang="0">
                    <a:pos x="248" y="3"/>
                  </a:cxn>
                  <a:cxn ang="0">
                    <a:pos x="218" y="3"/>
                  </a:cxn>
                  <a:cxn ang="0">
                    <a:pos x="171" y="33"/>
                  </a:cxn>
                  <a:cxn ang="0">
                    <a:pos x="137" y="48"/>
                  </a:cxn>
                  <a:cxn ang="0">
                    <a:pos x="124" y="48"/>
                  </a:cxn>
                  <a:cxn ang="0">
                    <a:pos x="102" y="50"/>
                  </a:cxn>
                  <a:cxn ang="0">
                    <a:pos x="68" y="55"/>
                  </a:cxn>
                  <a:cxn ang="0">
                    <a:pos x="51" y="51"/>
                  </a:cxn>
                  <a:cxn ang="0">
                    <a:pos x="22" y="53"/>
                  </a:cxn>
                  <a:cxn ang="0">
                    <a:pos x="22" y="40"/>
                  </a:cxn>
                  <a:cxn ang="0">
                    <a:pos x="8" y="39"/>
                  </a:cxn>
                  <a:cxn ang="0">
                    <a:pos x="2" y="50"/>
                  </a:cxn>
                  <a:cxn ang="0">
                    <a:pos x="8" y="74"/>
                  </a:cxn>
                  <a:cxn ang="0">
                    <a:pos x="27" y="89"/>
                  </a:cxn>
                  <a:cxn ang="0">
                    <a:pos x="29" y="116"/>
                  </a:cxn>
                  <a:cxn ang="0">
                    <a:pos x="16" y="123"/>
                  </a:cxn>
                  <a:cxn ang="0">
                    <a:pos x="17" y="132"/>
                  </a:cxn>
                  <a:cxn ang="0">
                    <a:pos x="21" y="149"/>
                  </a:cxn>
                  <a:cxn ang="0">
                    <a:pos x="22" y="166"/>
                  </a:cxn>
                  <a:cxn ang="0">
                    <a:pos x="42" y="173"/>
                  </a:cxn>
                  <a:cxn ang="0">
                    <a:pos x="52" y="190"/>
                  </a:cxn>
                  <a:cxn ang="0">
                    <a:pos x="53" y="219"/>
                  </a:cxn>
                  <a:cxn ang="0">
                    <a:pos x="68" y="213"/>
                  </a:cxn>
                  <a:cxn ang="0">
                    <a:pos x="75" y="211"/>
                  </a:cxn>
                  <a:cxn ang="0">
                    <a:pos x="89" y="208"/>
                  </a:cxn>
                  <a:cxn ang="0">
                    <a:pos x="99" y="202"/>
                  </a:cxn>
                  <a:cxn ang="0">
                    <a:pos x="106" y="201"/>
                  </a:cxn>
                  <a:cxn ang="0">
                    <a:pos x="111" y="196"/>
                  </a:cxn>
                  <a:cxn ang="0">
                    <a:pos x="119" y="197"/>
                  </a:cxn>
                  <a:cxn ang="0">
                    <a:pos x="134" y="198"/>
                  </a:cxn>
                  <a:cxn ang="0">
                    <a:pos x="143" y="203"/>
                  </a:cxn>
                  <a:cxn ang="0">
                    <a:pos x="163" y="202"/>
                  </a:cxn>
                  <a:cxn ang="0">
                    <a:pos x="192" y="195"/>
                  </a:cxn>
                  <a:cxn ang="0">
                    <a:pos x="209" y="185"/>
                  </a:cxn>
                  <a:cxn ang="0">
                    <a:pos x="215" y="165"/>
                  </a:cxn>
                  <a:cxn ang="0">
                    <a:pos x="225" y="156"/>
                  </a:cxn>
                  <a:cxn ang="0">
                    <a:pos x="239" y="143"/>
                  </a:cxn>
                  <a:cxn ang="0">
                    <a:pos x="250" y="136"/>
                  </a:cxn>
                  <a:cxn ang="0">
                    <a:pos x="268" y="139"/>
                  </a:cxn>
                  <a:cxn ang="0">
                    <a:pos x="285" y="138"/>
                  </a:cxn>
                  <a:cxn ang="0">
                    <a:pos x="288" y="133"/>
                  </a:cxn>
                  <a:cxn ang="0">
                    <a:pos x="284" y="121"/>
                  </a:cxn>
                  <a:cxn ang="0">
                    <a:pos x="276" y="111"/>
                  </a:cxn>
                  <a:cxn ang="0">
                    <a:pos x="264" y="108"/>
                  </a:cxn>
                  <a:cxn ang="0">
                    <a:pos x="260" y="98"/>
                  </a:cxn>
                  <a:cxn ang="0">
                    <a:pos x="268" y="88"/>
                  </a:cxn>
                  <a:cxn ang="0">
                    <a:pos x="273" y="73"/>
                  </a:cxn>
                  <a:cxn ang="0">
                    <a:pos x="264" y="56"/>
                  </a:cxn>
                  <a:cxn ang="0">
                    <a:pos x="279" y="40"/>
                  </a:cxn>
                  <a:cxn ang="0">
                    <a:pos x="300" y="26"/>
                  </a:cxn>
                  <a:cxn ang="0">
                    <a:pos x="294" y="14"/>
                  </a:cxn>
                </a:cxnLst>
                <a:rect l="0" t="0" r="r" b="b"/>
                <a:pathLst>
                  <a:path w="300" h="219">
                    <a:moveTo>
                      <a:pt x="294" y="14"/>
                    </a:moveTo>
                    <a:cubicBezTo>
                      <a:pt x="294" y="14"/>
                      <a:pt x="282" y="16"/>
                      <a:pt x="278" y="15"/>
                    </a:cubicBezTo>
                    <a:cubicBezTo>
                      <a:pt x="274" y="15"/>
                      <a:pt x="266" y="13"/>
                      <a:pt x="266" y="13"/>
                    </a:cubicBezTo>
                    <a:cubicBezTo>
                      <a:pt x="262" y="3"/>
                      <a:pt x="262" y="3"/>
                      <a:pt x="262" y="3"/>
                    </a:cubicBezTo>
                    <a:cubicBezTo>
                      <a:pt x="262" y="3"/>
                      <a:pt x="256" y="10"/>
                      <a:pt x="253" y="9"/>
                    </a:cubicBezTo>
                    <a:cubicBezTo>
                      <a:pt x="250" y="8"/>
                      <a:pt x="250" y="3"/>
                      <a:pt x="248" y="3"/>
                    </a:cubicBezTo>
                    <a:cubicBezTo>
                      <a:pt x="246" y="3"/>
                      <a:pt x="240" y="10"/>
                      <a:pt x="236" y="9"/>
                    </a:cubicBezTo>
                    <a:cubicBezTo>
                      <a:pt x="232" y="8"/>
                      <a:pt x="226" y="0"/>
                      <a:pt x="218" y="3"/>
                    </a:cubicBezTo>
                    <a:cubicBezTo>
                      <a:pt x="209" y="6"/>
                      <a:pt x="194" y="15"/>
                      <a:pt x="189" y="16"/>
                    </a:cubicBezTo>
                    <a:cubicBezTo>
                      <a:pt x="183" y="17"/>
                      <a:pt x="175" y="27"/>
                      <a:pt x="171" y="33"/>
                    </a:cubicBezTo>
                    <a:cubicBezTo>
                      <a:pt x="167" y="39"/>
                      <a:pt x="164" y="47"/>
                      <a:pt x="152" y="50"/>
                    </a:cubicBezTo>
                    <a:cubicBezTo>
                      <a:pt x="139" y="53"/>
                      <a:pt x="137" y="48"/>
                      <a:pt x="137" y="48"/>
                    </a:cubicBezTo>
                    <a:cubicBezTo>
                      <a:pt x="131" y="51"/>
                      <a:pt x="131" y="51"/>
                      <a:pt x="131" y="51"/>
                    </a:cubicBezTo>
                    <a:cubicBezTo>
                      <a:pt x="124" y="48"/>
                      <a:pt x="124" y="48"/>
                      <a:pt x="124" y="48"/>
                    </a:cubicBezTo>
                    <a:cubicBezTo>
                      <a:pt x="124" y="48"/>
                      <a:pt x="115" y="53"/>
                      <a:pt x="110" y="51"/>
                    </a:cubicBezTo>
                    <a:cubicBezTo>
                      <a:pt x="107" y="51"/>
                      <a:pt x="106" y="49"/>
                      <a:pt x="102" y="50"/>
                    </a:cubicBezTo>
                    <a:cubicBezTo>
                      <a:pt x="99" y="53"/>
                      <a:pt x="98" y="58"/>
                      <a:pt x="87" y="59"/>
                    </a:cubicBezTo>
                    <a:cubicBezTo>
                      <a:pt x="77" y="60"/>
                      <a:pt x="68" y="55"/>
                      <a:pt x="68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5"/>
                      <a:pt x="54" y="51"/>
                      <a:pt x="51" y="51"/>
                    </a:cubicBezTo>
                    <a:cubicBezTo>
                      <a:pt x="47" y="51"/>
                      <a:pt x="37" y="60"/>
                      <a:pt x="32" y="59"/>
                    </a:cubicBezTo>
                    <a:cubicBezTo>
                      <a:pt x="26" y="59"/>
                      <a:pt x="22" y="58"/>
                      <a:pt x="22" y="53"/>
                    </a:cubicBezTo>
                    <a:cubicBezTo>
                      <a:pt x="23" y="47"/>
                      <a:pt x="30" y="48"/>
                      <a:pt x="29" y="43"/>
                    </a:cubicBezTo>
                    <a:cubicBezTo>
                      <a:pt x="29" y="39"/>
                      <a:pt x="26" y="41"/>
                      <a:pt x="22" y="40"/>
                    </a:cubicBezTo>
                    <a:cubicBezTo>
                      <a:pt x="20" y="40"/>
                      <a:pt x="14" y="37"/>
                      <a:pt x="10" y="35"/>
                    </a:cubicBezTo>
                    <a:cubicBezTo>
                      <a:pt x="9" y="38"/>
                      <a:pt x="8" y="39"/>
                      <a:pt x="8" y="39"/>
                    </a:cubicBezTo>
                    <a:cubicBezTo>
                      <a:pt x="8" y="39"/>
                      <a:pt x="9" y="44"/>
                      <a:pt x="7" y="47"/>
                    </a:cubicBezTo>
                    <a:cubicBezTo>
                      <a:pt x="5" y="49"/>
                      <a:pt x="2" y="50"/>
                      <a:pt x="2" y="50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8" y="74"/>
                      <a:pt x="8" y="74"/>
                      <a:pt x="8" y="74"/>
                    </a:cubicBezTo>
                    <a:cubicBezTo>
                      <a:pt x="11" y="83"/>
                      <a:pt x="11" y="83"/>
                      <a:pt x="11" y="83"/>
                    </a:cubicBezTo>
                    <a:cubicBezTo>
                      <a:pt x="11" y="83"/>
                      <a:pt x="23" y="86"/>
                      <a:pt x="27" y="89"/>
                    </a:cubicBezTo>
                    <a:cubicBezTo>
                      <a:pt x="33" y="92"/>
                      <a:pt x="38" y="101"/>
                      <a:pt x="38" y="101"/>
                    </a:cubicBezTo>
                    <a:cubicBezTo>
                      <a:pt x="29" y="116"/>
                      <a:pt x="29" y="116"/>
                      <a:pt x="29" y="116"/>
                    </a:cubicBezTo>
                    <a:cubicBezTo>
                      <a:pt x="29" y="116"/>
                      <a:pt x="28" y="120"/>
                      <a:pt x="26" y="121"/>
                    </a:cubicBezTo>
                    <a:cubicBezTo>
                      <a:pt x="23" y="122"/>
                      <a:pt x="19" y="120"/>
                      <a:pt x="16" y="123"/>
                    </a:cubicBezTo>
                    <a:cubicBezTo>
                      <a:pt x="11" y="126"/>
                      <a:pt x="11" y="130"/>
                      <a:pt x="11" y="130"/>
                    </a:cubicBezTo>
                    <a:cubicBezTo>
                      <a:pt x="17" y="132"/>
                      <a:pt x="17" y="132"/>
                      <a:pt x="17" y="132"/>
                    </a:cubicBezTo>
                    <a:cubicBezTo>
                      <a:pt x="13" y="141"/>
                      <a:pt x="13" y="141"/>
                      <a:pt x="13" y="141"/>
                    </a:cubicBezTo>
                    <a:cubicBezTo>
                      <a:pt x="21" y="149"/>
                      <a:pt x="21" y="149"/>
                      <a:pt x="21" y="149"/>
                    </a:cubicBezTo>
                    <a:cubicBezTo>
                      <a:pt x="13" y="160"/>
                      <a:pt x="13" y="160"/>
                      <a:pt x="13" y="160"/>
                    </a:cubicBezTo>
                    <a:cubicBezTo>
                      <a:pt x="13" y="160"/>
                      <a:pt x="20" y="164"/>
                      <a:pt x="22" y="166"/>
                    </a:cubicBezTo>
                    <a:cubicBezTo>
                      <a:pt x="24" y="169"/>
                      <a:pt x="27" y="174"/>
                      <a:pt x="32" y="173"/>
                    </a:cubicBezTo>
                    <a:cubicBezTo>
                      <a:pt x="42" y="173"/>
                      <a:pt x="42" y="173"/>
                      <a:pt x="42" y="173"/>
                    </a:cubicBezTo>
                    <a:cubicBezTo>
                      <a:pt x="43" y="186"/>
                      <a:pt x="43" y="186"/>
                      <a:pt x="43" y="186"/>
                    </a:cubicBezTo>
                    <a:cubicBezTo>
                      <a:pt x="52" y="190"/>
                      <a:pt x="52" y="190"/>
                      <a:pt x="52" y="190"/>
                    </a:cubicBezTo>
                    <a:cubicBezTo>
                      <a:pt x="49" y="199"/>
                      <a:pt x="49" y="199"/>
                      <a:pt x="49" y="199"/>
                    </a:cubicBezTo>
                    <a:cubicBezTo>
                      <a:pt x="53" y="219"/>
                      <a:pt x="53" y="219"/>
                      <a:pt x="53" y="219"/>
                    </a:cubicBezTo>
                    <a:cubicBezTo>
                      <a:pt x="63" y="218"/>
                      <a:pt x="63" y="218"/>
                      <a:pt x="63" y="218"/>
                    </a:cubicBezTo>
                    <a:cubicBezTo>
                      <a:pt x="68" y="213"/>
                      <a:pt x="68" y="213"/>
                      <a:pt x="68" y="213"/>
                    </a:cubicBezTo>
                    <a:cubicBezTo>
                      <a:pt x="73" y="215"/>
                      <a:pt x="73" y="215"/>
                      <a:pt x="73" y="215"/>
                    </a:cubicBezTo>
                    <a:cubicBezTo>
                      <a:pt x="75" y="211"/>
                      <a:pt x="75" y="211"/>
                      <a:pt x="75" y="211"/>
                    </a:cubicBezTo>
                    <a:cubicBezTo>
                      <a:pt x="87" y="211"/>
                      <a:pt x="87" y="211"/>
                      <a:pt x="87" y="211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92" y="207"/>
                      <a:pt x="92" y="207"/>
                      <a:pt x="92" y="207"/>
                    </a:cubicBezTo>
                    <a:cubicBezTo>
                      <a:pt x="99" y="202"/>
                      <a:pt x="99" y="202"/>
                      <a:pt x="99" y="202"/>
                    </a:cubicBezTo>
                    <a:cubicBezTo>
                      <a:pt x="101" y="205"/>
                      <a:pt x="101" y="205"/>
                      <a:pt x="101" y="205"/>
                    </a:cubicBezTo>
                    <a:cubicBezTo>
                      <a:pt x="106" y="201"/>
                      <a:pt x="106" y="201"/>
                      <a:pt x="106" y="201"/>
                    </a:cubicBezTo>
                    <a:cubicBezTo>
                      <a:pt x="105" y="196"/>
                      <a:pt x="105" y="196"/>
                      <a:pt x="105" y="196"/>
                    </a:cubicBezTo>
                    <a:cubicBezTo>
                      <a:pt x="111" y="196"/>
                      <a:pt x="111" y="196"/>
                      <a:pt x="111" y="196"/>
                    </a:cubicBezTo>
                    <a:cubicBezTo>
                      <a:pt x="114" y="192"/>
                      <a:pt x="114" y="192"/>
                      <a:pt x="114" y="192"/>
                    </a:cubicBezTo>
                    <a:cubicBezTo>
                      <a:pt x="114" y="192"/>
                      <a:pt x="117" y="198"/>
                      <a:pt x="119" y="197"/>
                    </a:cubicBezTo>
                    <a:cubicBezTo>
                      <a:pt x="121" y="195"/>
                      <a:pt x="128" y="191"/>
                      <a:pt x="128" y="191"/>
                    </a:cubicBezTo>
                    <a:cubicBezTo>
                      <a:pt x="134" y="198"/>
                      <a:pt x="134" y="198"/>
                      <a:pt x="134" y="198"/>
                    </a:cubicBezTo>
                    <a:cubicBezTo>
                      <a:pt x="138" y="197"/>
                      <a:pt x="138" y="197"/>
                      <a:pt x="138" y="197"/>
                    </a:cubicBezTo>
                    <a:cubicBezTo>
                      <a:pt x="143" y="203"/>
                      <a:pt x="143" y="203"/>
                      <a:pt x="143" y="203"/>
                    </a:cubicBezTo>
                    <a:cubicBezTo>
                      <a:pt x="149" y="198"/>
                      <a:pt x="149" y="198"/>
                      <a:pt x="149" y="198"/>
                    </a:cubicBezTo>
                    <a:cubicBezTo>
                      <a:pt x="163" y="202"/>
                      <a:pt x="163" y="202"/>
                      <a:pt x="163" y="202"/>
                    </a:cubicBezTo>
                    <a:cubicBezTo>
                      <a:pt x="163" y="202"/>
                      <a:pt x="166" y="207"/>
                      <a:pt x="168" y="206"/>
                    </a:cubicBezTo>
                    <a:cubicBezTo>
                      <a:pt x="169" y="206"/>
                      <a:pt x="192" y="195"/>
                      <a:pt x="192" y="195"/>
                    </a:cubicBezTo>
                    <a:cubicBezTo>
                      <a:pt x="199" y="196"/>
                      <a:pt x="199" y="196"/>
                      <a:pt x="199" y="196"/>
                    </a:cubicBezTo>
                    <a:cubicBezTo>
                      <a:pt x="199" y="196"/>
                      <a:pt x="208" y="192"/>
                      <a:pt x="209" y="185"/>
                    </a:cubicBezTo>
                    <a:cubicBezTo>
                      <a:pt x="209" y="176"/>
                      <a:pt x="199" y="171"/>
                      <a:pt x="201" y="168"/>
                    </a:cubicBezTo>
                    <a:cubicBezTo>
                      <a:pt x="204" y="166"/>
                      <a:pt x="215" y="165"/>
                      <a:pt x="215" y="165"/>
                    </a:cubicBezTo>
                    <a:cubicBezTo>
                      <a:pt x="215" y="165"/>
                      <a:pt x="213" y="160"/>
                      <a:pt x="216" y="158"/>
                    </a:cubicBezTo>
                    <a:cubicBezTo>
                      <a:pt x="218" y="156"/>
                      <a:pt x="223" y="159"/>
                      <a:pt x="225" y="156"/>
                    </a:cubicBezTo>
                    <a:cubicBezTo>
                      <a:pt x="226" y="152"/>
                      <a:pt x="221" y="148"/>
                      <a:pt x="224" y="145"/>
                    </a:cubicBezTo>
                    <a:cubicBezTo>
                      <a:pt x="229" y="144"/>
                      <a:pt x="235" y="148"/>
                      <a:pt x="239" y="143"/>
                    </a:cubicBezTo>
                    <a:cubicBezTo>
                      <a:pt x="245" y="139"/>
                      <a:pt x="245" y="136"/>
                      <a:pt x="247" y="134"/>
                    </a:cubicBezTo>
                    <a:cubicBezTo>
                      <a:pt x="249" y="133"/>
                      <a:pt x="250" y="136"/>
                      <a:pt x="250" y="136"/>
                    </a:cubicBezTo>
                    <a:cubicBezTo>
                      <a:pt x="250" y="136"/>
                      <a:pt x="252" y="130"/>
                      <a:pt x="256" y="130"/>
                    </a:cubicBezTo>
                    <a:cubicBezTo>
                      <a:pt x="259" y="132"/>
                      <a:pt x="264" y="138"/>
                      <a:pt x="268" y="139"/>
                    </a:cubicBezTo>
                    <a:cubicBezTo>
                      <a:pt x="273" y="139"/>
                      <a:pt x="278" y="135"/>
                      <a:pt x="278" y="135"/>
                    </a:cubicBezTo>
                    <a:cubicBezTo>
                      <a:pt x="285" y="138"/>
                      <a:pt x="285" y="138"/>
                      <a:pt x="285" y="138"/>
                    </a:cubicBezTo>
                    <a:cubicBezTo>
                      <a:pt x="285" y="133"/>
                      <a:pt x="285" y="133"/>
                      <a:pt x="285" y="133"/>
                    </a:cubicBezTo>
                    <a:cubicBezTo>
                      <a:pt x="288" y="133"/>
                      <a:pt x="288" y="133"/>
                      <a:pt x="288" y="133"/>
                    </a:cubicBezTo>
                    <a:cubicBezTo>
                      <a:pt x="294" y="130"/>
                      <a:pt x="294" y="130"/>
                      <a:pt x="294" y="130"/>
                    </a:cubicBezTo>
                    <a:cubicBezTo>
                      <a:pt x="284" y="121"/>
                      <a:pt x="284" y="121"/>
                      <a:pt x="284" y="121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6" y="111"/>
                      <a:pt x="276" y="111"/>
                      <a:pt x="276" y="111"/>
                    </a:cubicBezTo>
                    <a:cubicBezTo>
                      <a:pt x="267" y="103"/>
                      <a:pt x="267" y="103"/>
                      <a:pt x="267" y="103"/>
                    </a:cubicBezTo>
                    <a:cubicBezTo>
                      <a:pt x="267" y="103"/>
                      <a:pt x="266" y="106"/>
                      <a:pt x="264" y="108"/>
                    </a:cubicBezTo>
                    <a:cubicBezTo>
                      <a:pt x="262" y="110"/>
                      <a:pt x="256" y="108"/>
                      <a:pt x="256" y="108"/>
                    </a:cubicBezTo>
                    <a:cubicBezTo>
                      <a:pt x="260" y="98"/>
                      <a:pt x="260" y="98"/>
                      <a:pt x="260" y="98"/>
                    </a:cubicBezTo>
                    <a:cubicBezTo>
                      <a:pt x="268" y="97"/>
                      <a:pt x="268" y="97"/>
                      <a:pt x="268" y="97"/>
                    </a:cubicBezTo>
                    <a:cubicBezTo>
                      <a:pt x="268" y="88"/>
                      <a:pt x="268" y="88"/>
                      <a:pt x="268" y="88"/>
                    </a:cubicBezTo>
                    <a:cubicBezTo>
                      <a:pt x="278" y="85"/>
                      <a:pt x="278" y="85"/>
                      <a:pt x="278" y="85"/>
                    </a:cubicBezTo>
                    <a:cubicBezTo>
                      <a:pt x="278" y="85"/>
                      <a:pt x="274" y="80"/>
                      <a:pt x="273" y="73"/>
                    </a:cubicBezTo>
                    <a:cubicBezTo>
                      <a:pt x="273" y="66"/>
                      <a:pt x="272" y="56"/>
                      <a:pt x="272" y="56"/>
                    </a:cubicBezTo>
                    <a:cubicBezTo>
                      <a:pt x="264" y="56"/>
                      <a:pt x="264" y="56"/>
                      <a:pt x="264" y="56"/>
                    </a:cubicBezTo>
                    <a:cubicBezTo>
                      <a:pt x="264" y="56"/>
                      <a:pt x="274" y="54"/>
                      <a:pt x="275" y="51"/>
                    </a:cubicBezTo>
                    <a:cubicBezTo>
                      <a:pt x="276" y="49"/>
                      <a:pt x="271" y="44"/>
                      <a:pt x="279" y="40"/>
                    </a:cubicBezTo>
                    <a:cubicBezTo>
                      <a:pt x="286" y="34"/>
                      <a:pt x="294" y="38"/>
                      <a:pt x="294" y="38"/>
                    </a:cubicBezTo>
                    <a:cubicBezTo>
                      <a:pt x="300" y="26"/>
                      <a:pt x="300" y="26"/>
                      <a:pt x="300" y="26"/>
                    </a:cubicBezTo>
                    <a:cubicBezTo>
                      <a:pt x="300" y="26"/>
                      <a:pt x="297" y="23"/>
                      <a:pt x="296" y="19"/>
                    </a:cubicBezTo>
                    <a:cubicBezTo>
                      <a:pt x="295" y="17"/>
                      <a:pt x="294" y="14"/>
                      <a:pt x="294" y="14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2" name="Ukraine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5227017" y="2654266"/>
                <a:ext cx="2135057" cy="1453205"/>
              </a:xfrm>
              <a:custGeom>
                <a:avLst/>
                <a:gdLst/>
                <a:ahLst/>
                <a:cxnLst>
                  <a:cxn ang="0">
                    <a:pos x="377" y="481"/>
                  </a:cxn>
                  <a:cxn ang="0">
                    <a:pos x="283" y="108"/>
                  </a:cxn>
                  <a:cxn ang="0">
                    <a:pos x="252" y="108"/>
                  </a:cxn>
                  <a:cxn ang="0">
                    <a:pos x="219" y="110"/>
                  </a:cxn>
                  <a:cxn ang="0">
                    <a:pos x="175" y="113"/>
                  </a:cxn>
                  <a:cxn ang="0">
                    <a:pos x="116" y="113"/>
                  </a:cxn>
                  <a:cxn ang="0">
                    <a:pos x="32" y="155"/>
                  </a:cxn>
                  <a:cxn ang="0">
                    <a:pos x="55" y="201"/>
                  </a:cxn>
                  <a:cxn ang="0">
                    <a:pos x="12" y="288"/>
                  </a:cxn>
                  <a:cxn ang="0">
                    <a:pos x="9" y="330"/>
                  </a:cxn>
                  <a:cxn ang="0">
                    <a:pos x="19" y="373"/>
                  </a:cxn>
                  <a:cxn ang="0">
                    <a:pos x="46" y="385"/>
                  </a:cxn>
                  <a:cxn ang="0">
                    <a:pos x="150" y="374"/>
                  </a:cxn>
                  <a:cxn ang="0">
                    <a:pos x="214" y="330"/>
                  </a:cxn>
                  <a:cxn ang="0">
                    <a:pos x="253" y="324"/>
                  </a:cxn>
                  <a:cxn ang="0">
                    <a:pos x="281" y="335"/>
                  </a:cxn>
                  <a:cxn ang="0">
                    <a:pos x="320" y="348"/>
                  </a:cxn>
                  <a:cxn ang="0">
                    <a:pos x="343" y="377"/>
                  </a:cxn>
                  <a:cxn ang="0">
                    <a:pos x="362" y="424"/>
                  </a:cxn>
                  <a:cxn ang="0">
                    <a:pos x="334" y="462"/>
                  </a:cxn>
                  <a:cxn ang="0">
                    <a:pos x="307" y="502"/>
                  </a:cxn>
                  <a:cxn ang="0">
                    <a:pos x="363" y="493"/>
                  </a:cxn>
                  <a:cxn ang="0">
                    <a:pos x="374" y="485"/>
                  </a:cxn>
                  <a:cxn ang="0">
                    <a:pos x="375" y="481"/>
                  </a:cxn>
                  <a:cxn ang="0">
                    <a:pos x="387" y="460"/>
                  </a:cxn>
                  <a:cxn ang="0">
                    <a:pos x="400" y="441"/>
                  </a:cxn>
                  <a:cxn ang="0">
                    <a:pos x="435" y="387"/>
                  </a:cxn>
                  <a:cxn ang="0">
                    <a:pos x="456" y="390"/>
                  </a:cxn>
                  <a:cxn ang="0">
                    <a:pos x="445" y="405"/>
                  </a:cxn>
                  <a:cxn ang="0">
                    <a:pos x="530" y="390"/>
                  </a:cxn>
                  <a:cxn ang="0">
                    <a:pos x="509" y="431"/>
                  </a:cxn>
                  <a:cxn ang="0">
                    <a:pos x="521" y="450"/>
                  </a:cxn>
                  <a:cxn ang="0">
                    <a:pos x="554" y="488"/>
                  </a:cxn>
                  <a:cxn ang="0">
                    <a:pos x="629" y="441"/>
                  </a:cxn>
                  <a:cxn ang="0">
                    <a:pos x="672" y="403"/>
                  </a:cxn>
                  <a:cxn ang="0">
                    <a:pos x="608" y="419"/>
                  </a:cxn>
                  <a:cxn ang="0">
                    <a:pos x="587" y="386"/>
                  </a:cxn>
                  <a:cxn ang="0">
                    <a:pos x="554" y="388"/>
                  </a:cxn>
                  <a:cxn ang="0">
                    <a:pos x="562" y="378"/>
                  </a:cxn>
                  <a:cxn ang="0">
                    <a:pos x="588" y="379"/>
                  </a:cxn>
                  <a:cxn ang="0">
                    <a:pos x="592" y="336"/>
                  </a:cxn>
                  <a:cxn ang="0">
                    <a:pos x="657" y="308"/>
                  </a:cxn>
                  <a:cxn ang="0">
                    <a:pos x="690" y="271"/>
                  </a:cxn>
                  <a:cxn ang="0">
                    <a:pos x="755" y="190"/>
                  </a:cxn>
                  <a:cxn ang="0">
                    <a:pos x="731" y="147"/>
                  </a:cxn>
                  <a:cxn ang="0">
                    <a:pos x="734" y="101"/>
                  </a:cxn>
                  <a:cxn ang="0">
                    <a:pos x="700" y="79"/>
                  </a:cxn>
                  <a:cxn ang="0">
                    <a:pos x="674" y="84"/>
                  </a:cxn>
                  <a:cxn ang="0">
                    <a:pos x="634" y="92"/>
                  </a:cxn>
                  <a:cxn ang="0">
                    <a:pos x="599" y="69"/>
                  </a:cxn>
                  <a:cxn ang="0">
                    <a:pos x="559" y="91"/>
                  </a:cxn>
                  <a:cxn ang="0">
                    <a:pos x="503" y="68"/>
                  </a:cxn>
                  <a:cxn ang="0">
                    <a:pos x="468" y="60"/>
                  </a:cxn>
                  <a:cxn ang="0">
                    <a:pos x="454" y="30"/>
                  </a:cxn>
                  <a:cxn ang="0">
                    <a:pos x="394" y="7"/>
                  </a:cxn>
                  <a:cxn ang="0">
                    <a:pos x="348" y="50"/>
                  </a:cxn>
                </a:cxnLst>
                <a:rect l="0" t="0" r="r" b="b"/>
                <a:pathLst>
                  <a:path w="756" h="515">
                    <a:moveTo>
                      <a:pt x="377" y="481"/>
                    </a:moveTo>
                    <a:cubicBezTo>
                      <a:pt x="381" y="480"/>
                      <a:pt x="381" y="480"/>
                      <a:pt x="381" y="480"/>
                    </a:cubicBezTo>
                    <a:cubicBezTo>
                      <a:pt x="386" y="473"/>
                      <a:pt x="386" y="473"/>
                      <a:pt x="386" y="473"/>
                    </a:cubicBezTo>
                    <a:cubicBezTo>
                      <a:pt x="390" y="466"/>
                      <a:pt x="390" y="466"/>
                      <a:pt x="390" y="466"/>
                    </a:cubicBezTo>
                    <a:cubicBezTo>
                      <a:pt x="384" y="471"/>
                      <a:pt x="384" y="471"/>
                      <a:pt x="384" y="471"/>
                    </a:cubicBezTo>
                    <a:lnTo>
                      <a:pt x="377" y="481"/>
                    </a:lnTo>
                    <a:close/>
                    <a:moveTo>
                      <a:pt x="338" y="50"/>
                    </a:moveTo>
                    <a:cubicBezTo>
                      <a:pt x="338" y="50"/>
                      <a:pt x="336" y="56"/>
                      <a:pt x="325" y="57"/>
                    </a:cubicBezTo>
                    <a:cubicBezTo>
                      <a:pt x="314" y="58"/>
                      <a:pt x="313" y="77"/>
                      <a:pt x="312" y="90"/>
                    </a:cubicBezTo>
                    <a:cubicBezTo>
                      <a:pt x="311" y="104"/>
                      <a:pt x="321" y="106"/>
                      <a:pt x="318" y="111"/>
                    </a:cubicBezTo>
                    <a:cubicBezTo>
                      <a:pt x="314" y="116"/>
                      <a:pt x="308" y="106"/>
                      <a:pt x="303" y="101"/>
                    </a:cubicBezTo>
                    <a:cubicBezTo>
                      <a:pt x="296" y="94"/>
                      <a:pt x="283" y="108"/>
                      <a:pt x="283" y="108"/>
                    </a:cubicBezTo>
                    <a:cubicBezTo>
                      <a:pt x="280" y="105"/>
                      <a:pt x="280" y="105"/>
                      <a:pt x="280" y="105"/>
                    </a:cubicBezTo>
                    <a:cubicBezTo>
                      <a:pt x="271" y="109"/>
                      <a:pt x="271" y="109"/>
                      <a:pt x="271" y="109"/>
                    </a:cubicBezTo>
                    <a:cubicBezTo>
                      <a:pt x="271" y="109"/>
                      <a:pt x="271" y="117"/>
                      <a:pt x="266" y="117"/>
                    </a:cubicBezTo>
                    <a:cubicBezTo>
                      <a:pt x="260" y="118"/>
                      <a:pt x="260" y="105"/>
                      <a:pt x="260" y="105"/>
                    </a:cubicBezTo>
                    <a:cubicBezTo>
                      <a:pt x="254" y="102"/>
                      <a:pt x="254" y="102"/>
                      <a:pt x="254" y="102"/>
                    </a:cubicBezTo>
                    <a:cubicBezTo>
                      <a:pt x="252" y="108"/>
                      <a:pt x="252" y="108"/>
                      <a:pt x="252" y="108"/>
                    </a:cubicBezTo>
                    <a:cubicBezTo>
                      <a:pt x="243" y="110"/>
                      <a:pt x="243" y="110"/>
                      <a:pt x="243" y="110"/>
                    </a:cubicBezTo>
                    <a:cubicBezTo>
                      <a:pt x="243" y="110"/>
                      <a:pt x="244" y="118"/>
                      <a:pt x="239" y="119"/>
                    </a:cubicBezTo>
                    <a:cubicBezTo>
                      <a:pt x="234" y="120"/>
                      <a:pt x="236" y="111"/>
                      <a:pt x="236" y="111"/>
                    </a:cubicBezTo>
                    <a:cubicBezTo>
                      <a:pt x="227" y="113"/>
                      <a:pt x="227" y="113"/>
                      <a:pt x="227" y="113"/>
                    </a:cubicBezTo>
                    <a:cubicBezTo>
                      <a:pt x="224" y="118"/>
                      <a:pt x="224" y="118"/>
                      <a:pt x="224" y="118"/>
                    </a:cubicBezTo>
                    <a:cubicBezTo>
                      <a:pt x="219" y="110"/>
                      <a:pt x="219" y="110"/>
                      <a:pt x="219" y="110"/>
                    </a:cubicBezTo>
                    <a:cubicBezTo>
                      <a:pt x="210" y="118"/>
                      <a:pt x="210" y="118"/>
                      <a:pt x="210" y="118"/>
                    </a:cubicBezTo>
                    <a:cubicBezTo>
                      <a:pt x="202" y="118"/>
                      <a:pt x="202" y="118"/>
                      <a:pt x="202" y="118"/>
                    </a:cubicBezTo>
                    <a:cubicBezTo>
                      <a:pt x="202" y="118"/>
                      <a:pt x="205" y="126"/>
                      <a:pt x="202" y="126"/>
                    </a:cubicBezTo>
                    <a:cubicBezTo>
                      <a:pt x="198" y="126"/>
                      <a:pt x="197" y="120"/>
                      <a:pt x="197" y="120"/>
                    </a:cubicBezTo>
                    <a:cubicBezTo>
                      <a:pt x="197" y="120"/>
                      <a:pt x="193" y="119"/>
                      <a:pt x="185" y="121"/>
                    </a:cubicBezTo>
                    <a:cubicBezTo>
                      <a:pt x="177" y="123"/>
                      <a:pt x="180" y="118"/>
                      <a:pt x="175" y="113"/>
                    </a:cubicBezTo>
                    <a:cubicBezTo>
                      <a:pt x="170" y="106"/>
                      <a:pt x="164" y="118"/>
                      <a:pt x="164" y="118"/>
                    </a:cubicBezTo>
                    <a:cubicBezTo>
                      <a:pt x="153" y="113"/>
                      <a:pt x="153" y="113"/>
                      <a:pt x="153" y="113"/>
                    </a:cubicBezTo>
                    <a:cubicBezTo>
                      <a:pt x="146" y="117"/>
                      <a:pt x="146" y="117"/>
                      <a:pt x="146" y="117"/>
                    </a:cubicBezTo>
                    <a:cubicBezTo>
                      <a:pt x="140" y="113"/>
                      <a:pt x="140" y="113"/>
                      <a:pt x="140" y="113"/>
                    </a:cubicBezTo>
                    <a:cubicBezTo>
                      <a:pt x="130" y="113"/>
                      <a:pt x="130" y="113"/>
                      <a:pt x="130" y="113"/>
                    </a:cubicBezTo>
                    <a:cubicBezTo>
                      <a:pt x="130" y="113"/>
                      <a:pt x="122" y="111"/>
                      <a:pt x="116" y="113"/>
                    </a:cubicBezTo>
                    <a:cubicBezTo>
                      <a:pt x="111" y="115"/>
                      <a:pt x="108" y="118"/>
                      <a:pt x="99" y="117"/>
                    </a:cubicBezTo>
                    <a:cubicBezTo>
                      <a:pt x="91" y="116"/>
                      <a:pt x="90" y="117"/>
                      <a:pt x="81" y="121"/>
                    </a:cubicBezTo>
                    <a:cubicBezTo>
                      <a:pt x="73" y="125"/>
                      <a:pt x="67" y="122"/>
                      <a:pt x="60" y="127"/>
                    </a:cubicBezTo>
                    <a:cubicBezTo>
                      <a:pt x="52" y="132"/>
                      <a:pt x="60" y="139"/>
                      <a:pt x="51" y="145"/>
                    </a:cubicBezTo>
                    <a:cubicBezTo>
                      <a:pt x="43" y="151"/>
                      <a:pt x="42" y="146"/>
                      <a:pt x="37" y="146"/>
                    </a:cubicBezTo>
                    <a:cubicBezTo>
                      <a:pt x="32" y="146"/>
                      <a:pt x="32" y="153"/>
                      <a:pt x="32" y="155"/>
                    </a:cubicBezTo>
                    <a:cubicBezTo>
                      <a:pt x="33" y="158"/>
                      <a:pt x="35" y="162"/>
                      <a:pt x="35" y="166"/>
                    </a:cubicBezTo>
                    <a:cubicBezTo>
                      <a:pt x="35" y="172"/>
                      <a:pt x="40" y="173"/>
                      <a:pt x="44" y="177"/>
                    </a:cubicBezTo>
                    <a:cubicBezTo>
                      <a:pt x="48" y="180"/>
                      <a:pt x="50" y="185"/>
                      <a:pt x="52" y="188"/>
                    </a:cubicBezTo>
                    <a:cubicBezTo>
                      <a:pt x="55" y="192"/>
                      <a:pt x="63" y="195"/>
                      <a:pt x="63" y="195"/>
                    </a:cubicBezTo>
                    <a:cubicBezTo>
                      <a:pt x="60" y="198"/>
                      <a:pt x="60" y="198"/>
                      <a:pt x="60" y="198"/>
                    </a:cubicBezTo>
                    <a:cubicBezTo>
                      <a:pt x="60" y="198"/>
                      <a:pt x="56" y="199"/>
                      <a:pt x="55" y="201"/>
                    </a:cubicBezTo>
                    <a:cubicBezTo>
                      <a:pt x="54" y="203"/>
                      <a:pt x="58" y="204"/>
                      <a:pt x="61" y="205"/>
                    </a:cubicBezTo>
                    <a:cubicBezTo>
                      <a:pt x="64" y="208"/>
                      <a:pt x="64" y="216"/>
                      <a:pt x="61" y="224"/>
                    </a:cubicBezTo>
                    <a:cubicBezTo>
                      <a:pt x="58" y="231"/>
                      <a:pt x="47" y="228"/>
                      <a:pt x="47" y="228"/>
                    </a:cubicBezTo>
                    <a:cubicBezTo>
                      <a:pt x="47" y="228"/>
                      <a:pt x="37" y="246"/>
                      <a:pt x="33" y="249"/>
                    </a:cubicBezTo>
                    <a:cubicBezTo>
                      <a:pt x="30" y="253"/>
                      <a:pt x="29" y="264"/>
                      <a:pt x="25" y="271"/>
                    </a:cubicBezTo>
                    <a:cubicBezTo>
                      <a:pt x="22" y="278"/>
                      <a:pt x="12" y="288"/>
                      <a:pt x="12" y="288"/>
                    </a:cubicBezTo>
                    <a:cubicBezTo>
                      <a:pt x="12" y="288"/>
                      <a:pt x="18" y="295"/>
                      <a:pt x="18" y="300"/>
                    </a:cubicBezTo>
                    <a:cubicBezTo>
                      <a:pt x="19" y="305"/>
                      <a:pt x="18" y="308"/>
                      <a:pt x="19" y="311"/>
                    </a:cubicBezTo>
                    <a:cubicBezTo>
                      <a:pt x="21" y="314"/>
                      <a:pt x="29" y="316"/>
                      <a:pt x="29" y="316"/>
                    </a:cubicBezTo>
                    <a:cubicBezTo>
                      <a:pt x="28" y="322"/>
                      <a:pt x="28" y="322"/>
                      <a:pt x="28" y="322"/>
                    </a:cubicBezTo>
                    <a:cubicBezTo>
                      <a:pt x="14" y="318"/>
                      <a:pt x="14" y="318"/>
                      <a:pt x="14" y="318"/>
                    </a:cubicBezTo>
                    <a:cubicBezTo>
                      <a:pt x="9" y="330"/>
                      <a:pt x="9" y="330"/>
                      <a:pt x="9" y="330"/>
                    </a:cubicBezTo>
                    <a:cubicBezTo>
                      <a:pt x="8" y="343"/>
                      <a:pt x="8" y="343"/>
                      <a:pt x="8" y="343"/>
                    </a:cubicBezTo>
                    <a:cubicBezTo>
                      <a:pt x="8" y="343"/>
                      <a:pt x="0" y="351"/>
                      <a:pt x="0" y="355"/>
                    </a:cubicBezTo>
                    <a:cubicBezTo>
                      <a:pt x="0" y="359"/>
                      <a:pt x="2" y="366"/>
                      <a:pt x="2" y="366"/>
                    </a:cubicBezTo>
                    <a:cubicBezTo>
                      <a:pt x="2" y="366"/>
                      <a:pt x="6" y="366"/>
                      <a:pt x="8" y="368"/>
                    </a:cubicBezTo>
                    <a:cubicBezTo>
                      <a:pt x="10" y="369"/>
                      <a:pt x="13" y="374"/>
                      <a:pt x="13" y="374"/>
                    </a:cubicBezTo>
                    <a:cubicBezTo>
                      <a:pt x="13" y="374"/>
                      <a:pt x="16" y="373"/>
                      <a:pt x="19" y="373"/>
                    </a:cubicBezTo>
                    <a:cubicBezTo>
                      <a:pt x="22" y="374"/>
                      <a:pt x="22" y="377"/>
                      <a:pt x="24" y="379"/>
                    </a:cubicBezTo>
                    <a:cubicBezTo>
                      <a:pt x="26" y="383"/>
                      <a:pt x="28" y="379"/>
                      <a:pt x="35" y="381"/>
                    </a:cubicBezTo>
                    <a:cubicBezTo>
                      <a:pt x="43" y="383"/>
                      <a:pt x="37" y="388"/>
                      <a:pt x="37" y="388"/>
                    </a:cubicBezTo>
                    <a:cubicBezTo>
                      <a:pt x="40" y="389"/>
                      <a:pt x="40" y="389"/>
                      <a:pt x="40" y="389"/>
                    </a:cubicBezTo>
                    <a:cubicBezTo>
                      <a:pt x="42" y="384"/>
                      <a:pt x="42" y="384"/>
                      <a:pt x="42" y="384"/>
                    </a:cubicBezTo>
                    <a:cubicBezTo>
                      <a:pt x="46" y="385"/>
                      <a:pt x="46" y="385"/>
                      <a:pt x="46" y="385"/>
                    </a:cubicBezTo>
                    <a:cubicBezTo>
                      <a:pt x="46" y="385"/>
                      <a:pt x="45" y="374"/>
                      <a:pt x="50" y="374"/>
                    </a:cubicBezTo>
                    <a:cubicBezTo>
                      <a:pt x="57" y="374"/>
                      <a:pt x="51" y="384"/>
                      <a:pt x="64" y="383"/>
                    </a:cubicBezTo>
                    <a:cubicBezTo>
                      <a:pt x="76" y="382"/>
                      <a:pt x="99" y="381"/>
                      <a:pt x="99" y="381"/>
                    </a:cubicBezTo>
                    <a:cubicBezTo>
                      <a:pt x="99" y="381"/>
                      <a:pt x="108" y="374"/>
                      <a:pt x="113" y="376"/>
                    </a:cubicBezTo>
                    <a:cubicBezTo>
                      <a:pt x="117" y="377"/>
                      <a:pt x="127" y="390"/>
                      <a:pt x="137" y="388"/>
                    </a:cubicBezTo>
                    <a:cubicBezTo>
                      <a:pt x="146" y="385"/>
                      <a:pt x="134" y="378"/>
                      <a:pt x="150" y="374"/>
                    </a:cubicBezTo>
                    <a:cubicBezTo>
                      <a:pt x="165" y="370"/>
                      <a:pt x="182" y="361"/>
                      <a:pt x="182" y="361"/>
                    </a:cubicBezTo>
                    <a:cubicBezTo>
                      <a:pt x="182" y="361"/>
                      <a:pt x="186" y="340"/>
                      <a:pt x="202" y="339"/>
                    </a:cubicBezTo>
                    <a:cubicBezTo>
                      <a:pt x="202" y="336"/>
                      <a:pt x="202" y="336"/>
                      <a:pt x="202" y="336"/>
                    </a:cubicBezTo>
                    <a:cubicBezTo>
                      <a:pt x="205" y="336"/>
                      <a:pt x="205" y="336"/>
                      <a:pt x="205" y="336"/>
                    </a:cubicBezTo>
                    <a:cubicBezTo>
                      <a:pt x="205" y="336"/>
                      <a:pt x="198" y="329"/>
                      <a:pt x="204" y="328"/>
                    </a:cubicBezTo>
                    <a:cubicBezTo>
                      <a:pt x="210" y="326"/>
                      <a:pt x="211" y="330"/>
                      <a:pt x="214" y="330"/>
                    </a:cubicBezTo>
                    <a:cubicBezTo>
                      <a:pt x="217" y="330"/>
                      <a:pt x="215" y="324"/>
                      <a:pt x="215" y="324"/>
                    </a:cubicBezTo>
                    <a:cubicBezTo>
                      <a:pt x="222" y="327"/>
                      <a:pt x="222" y="327"/>
                      <a:pt x="222" y="327"/>
                    </a:cubicBezTo>
                    <a:cubicBezTo>
                      <a:pt x="226" y="322"/>
                      <a:pt x="226" y="322"/>
                      <a:pt x="226" y="322"/>
                    </a:cubicBezTo>
                    <a:cubicBezTo>
                      <a:pt x="234" y="323"/>
                      <a:pt x="234" y="323"/>
                      <a:pt x="234" y="323"/>
                    </a:cubicBezTo>
                    <a:cubicBezTo>
                      <a:pt x="234" y="323"/>
                      <a:pt x="231" y="314"/>
                      <a:pt x="240" y="318"/>
                    </a:cubicBezTo>
                    <a:cubicBezTo>
                      <a:pt x="247" y="320"/>
                      <a:pt x="253" y="324"/>
                      <a:pt x="253" y="324"/>
                    </a:cubicBezTo>
                    <a:cubicBezTo>
                      <a:pt x="259" y="324"/>
                      <a:pt x="259" y="324"/>
                      <a:pt x="259" y="324"/>
                    </a:cubicBezTo>
                    <a:cubicBezTo>
                      <a:pt x="261" y="329"/>
                      <a:pt x="261" y="329"/>
                      <a:pt x="261" y="329"/>
                    </a:cubicBezTo>
                    <a:cubicBezTo>
                      <a:pt x="273" y="325"/>
                      <a:pt x="273" y="325"/>
                      <a:pt x="273" y="325"/>
                    </a:cubicBezTo>
                    <a:cubicBezTo>
                      <a:pt x="272" y="331"/>
                      <a:pt x="272" y="331"/>
                      <a:pt x="272" y="331"/>
                    </a:cubicBezTo>
                    <a:cubicBezTo>
                      <a:pt x="276" y="330"/>
                      <a:pt x="276" y="330"/>
                      <a:pt x="276" y="330"/>
                    </a:cubicBezTo>
                    <a:cubicBezTo>
                      <a:pt x="281" y="335"/>
                      <a:pt x="281" y="335"/>
                      <a:pt x="281" y="335"/>
                    </a:cubicBezTo>
                    <a:cubicBezTo>
                      <a:pt x="281" y="335"/>
                      <a:pt x="278" y="328"/>
                      <a:pt x="281" y="328"/>
                    </a:cubicBezTo>
                    <a:cubicBezTo>
                      <a:pt x="285" y="328"/>
                      <a:pt x="295" y="329"/>
                      <a:pt x="295" y="329"/>
                    </a:cubicBezTo>
                    <a:cubicBezTo>
                      <a:pt x="301" y="338"/>
                      <a:pt x="301" y="338"/>
                      <a:pt x="301" y="338"/>
                    </a:cubicBezTo>
                    <a:cubicBezTo>
                      <a:pt x="308" y="337"/>
                      <a:pt x="308" y="337"/>
                      <a:pt x="308" y="337"/>
                    </a:cubicBezTo>
                    <a:cubicBezTo>
                      <a:pt x="311" y="332"/>
                      <a:pt x="311" y="332"/>
                      <a:pt x="311" y="332"/>
                    </a:cubicBezTo>
                    <a:cubicBezTo>
                      <a:pt x="311" y="332"/>
                      <a:pt x="320" y="343"/>
                      <a:pt x="320" y="348"/>
                    </a:cubicBezTo>
                    <a:cubicBezTo>
                      <a:pt x="320" y="355"/>
                      <a:pt x="318" y="361"/>
                      <a:pt x="318" y="361"/>
                    </a:cubicBezTo>
                    <a:cubicBezTo>
                      <a:pt x="322" y="368"/>
                      <a:pt x="322" y="368"/>
                      <a:pt x="322" y="368"/>
                    </a:cubicBezTo>
                    <a:cubicBezTo>
                      <a:pt x="322" y="368"/>
                      <a:pt x="326" y="367"/>
                      <a:pt x="327" y="368"/>
                    </a:cubicBezTo>
                    <a:cubicBezTo>
                      <a:pt x="328" y="369"/>
                      <a:pt x="336" y="374"/>
                      <a:pt x="336" y="374"/>
                    </a:cubicBezTo>
                    <a:cubicBezTo>
                      <a:pt x="339" y="369"/>
                      <a:pt x="339" y="369"/>
                      <a:pt x="339" y="369"/>
                    </a:cubicBezTo>
                    <a:cubicBezTo>
                      <a:pt x="343" y="377"/>
                      <a:pt x="343" y="377"/>
                      <a:pt x="343" y="377"/>
                    </a:cubicBezTo>
                    <a:cubicBezTo>
                      <a:pt x="343" y="377"/>
                      <a:pt x="341" y="393"/>
                      <a:pt x="349" y="394"/>
                    </a:cubicBezTo>
                    <a:cubicBezTo>
                      <a:pt x="355" y="395"/>
                      <a:pt x="359" y="391"/>
                      <a:pt x="362" y="398"/>
                    </a:cubicBezTo>
                    <a:cubicBezTo>
                      <a:pt x="367" y="403"/>
                      <a:pt x="362" y="419"/>
                      <a:pt x="367" y="420"/>
                    </a:cubicBezTo>
                    <a:cubicBezTo>
                      <a:pt x="371" y="421"/>
                      <a:pt x="378" y="424"/>
                      <a:pt x="378" y="424"/>
                    </a:cubicBezTo>
                    <a:cubicBezTo>
                      <a:pt x="367" y="430"/>
                      <a:pt x="367" y="430"/>
                      <a:pt x="367" y="430"/>
                    </a:cubicBezTo>
                    <a:cubicBezTo>
                      <a:pt x="367" y="430"/>
                      <a:pt x="365" y="424"/>
                      <a:pt x="362" y="424"/>
                    </a:cubicBezTo>
                    <a:cubicBezTo>
                      <a:pt x="360" y="424"/>
                      <a:pt x="362" y="431"/>
                      <a:pt x="358" y="432"/>
                    </a:cubicBezTo>
                    <a:cubicBezTo>
                      <a:pt x="354" y="433"/>
                      <a:pt x="346" y="426"/>
                      <a:pt x="346" y="426"/>
                    </a:cubicBezTo>
                    <a:cubicBezTo>
                      <a:pt x="346" y="426"/>
                      <a:pt x="343" y="435"/>
                      <a:pt x="340" y="435"/>
                    </a:cubicBezTo>
                    <a:cubicBezTo>
                      <a:pt x="337" y="435"/>
                      <a:pt x="342" y="417"/>
                      <a:pt x="326" y="430"/>
                    </a:cubicBezTo>
                    <a:cubicBezTo>
                      <a:pt x="321" y="435"/>
                      <a:pt x="334" y="448"/>
                      <a:pt x="334" y="448"/>
                    </a:cubicBezTo>
                    <a:cubicBezTo>
                      <a:pt x="334" y="462"/>
                      <a:pt x="334" y="462"/>
                      <a:pt x="334" y="462"/>
                    </a:cubicBezTo>
                    <a:cubicBezTo>
                      <a:pt x="325" y="468"/>
                      <a:pt x="325" y="468"/>
                      <a:pt x="325" y="468"/>
                    </a:cubicBezTo>
                    <a:cubicBezTo>
                      <a:pt x="328" y="473"/>
                      <a:pt x="328" y="473"/>
                      <a:pt x="328" y="473"/>
                    </a:cubicBezTo>
                    <a:cubicBezTo>
                      <a:pt x="317" y="485"/>
                      <a:pt x="317" y="485"/>
                      <a:pt x="317" y="485"/>
                    </a:cubicBezTo>
                    <a:cubicBezTo>
                      <a:pt x="317" y="485"/>
                      <a:pt x="325" y="494"/>
                      <a:pt x="322" y="497"/>
                    </a:cubicBezTo>
                    <a:cubicBezTo>
                      <a:pt x="319" y="501"/>
                      <a:pt x="310" y="499"/>
                      <a:pt x="310" y="499"/>
                    </a:cubicBezTo>
                    <a:cubicBezTo>
                      <a:pt x="307" y="502"/>
                      <a:pt x="307" y="502"/>
                      <a:pt x="307" y="502"/>
                    </a:cubicBezTo>
                    <a:cubicBezTo>
                      <a:pt x="312" y="504"/>
                      <a:pt x="312" y="504"/>
                      <a:pt x="312" y="504"/>
                    </a:cubicBezTo>
                    <a:cubicBezTo>
                      <a:pt x="312" y="504"/>
                      <a:pt x="311" y="510"/>
                      <a:pt x="322" y="512"/>
                    </a:cubicBezTo>
                    <a:cubicBezTo>
                      <a:pt x="334" y="515"/>
                      <a:pt x="337" y="514"/>
                      <a:pt x="337" y="514"/>
                    </a:cubicBezTo>
                    <a:cubicBezTo>
                      <a:pt x="337" y="507"/>
                      <a:pt x="337" y="507"/>
                      <a:pt x="337" y="507"/>
                    </a:cubicBezTo>
                    <a:cubicBezTo>
                      <a:pt x="342" y="507"/>
                      <a:pt x="342" y="507"/>
                      <a:pt x="342" y="507"/>
                    </a:cubicBezTo>
                    <a:cubicBezTo>
                      <a:pt x="342" y="507"/>
                      <a:pt x="354" y="492"/>
                      <a:pt x="363" y="493"/>
                    </a:cubicBezTo>
                    <a:cubicBezTo>
                      <a:pt x="374" y="495"/>
                      <a:pt x="378" y="504"/>
                      <a:pt x="378" y="504"/>
                    </a:cubicBezTo>
                    <a:cubicBezTo>
                      <a:pt x="378" y="505"/>
                      <a:pt x="378" y="505"/>
                      <a:pt x="378" y="505"/>
                    </a:cubicBezTo>
                    <a:cubicBezTo>
                      <a:pt x="379" y="503"/>
                      <a:pt x="382" y="500"/>
                      <a:pt x="381" y="497"/>
                    </a:cubicBezTo>
                    <a:cubicBezTo>
                      <a:pt x="379" y="494"/>
                      <a:pt x="376" y="490"/>
                      <a:pt x="376" y="490"/>
                    </a:cubicBezTo>
                    <a:cubicBezTo>
                      <a:pt x="371" y="489"/>
                      <a:pt x="371" y="489"/>
                      <a:pt x="371" y="489"/>
                    </a:cubicBezTo>
                    <a:cubicBezTo>
                      <a:pt x="374" y="485"/>
                      <a:pt x="374" y="485"/>
                      <a:pt x="374" y="485"/>
                    </a:cubicBezTo>
                    <a:cubicBezTo>
                      <a:pt x="373" y="484"/>
                      <a:pt x="373" y="484"/>
                      <a:pt x="373" y="484"/>
                    </a:cubicBezTo>
                    <a:cubicBezTo>
                      <a:pt x="369" y="484"/>
                      <a:pt x="369" y="484"/>
                      <a:pt x="369" y="484"/>
                    </a:cubicBezTo>
                    <a:cubicBezTo>
                      <a:pt x="366" y="468"/>
                      <a:pt x="366" y="468"/>
                      <a:pt x="366" y="468"/>
                    </a:cubicBezTo>
                    <a:cubicBezTo>
                      <a:pt x="369" y="467"/>
                      <a:pt x="369" y="467"/>
                      <a:pt x="369" y="467"/>
                    </a:cubicBezTo>
                    <a:cubicBezTo>
                      <a:pt x="371" y="474"/>
                      <a:pt x="371" y="474"/>
                      <a:pt x="371" y="474"/>
                    </a:cubicBezTo>
                    <a:cubicBezTo>
                      <a:pt x="375" y="481"/>
                      <a:pt x="375" y="481"/>
                      <a:pt x="375" y="481"/>
                    </a:cubicBezTo>
                    <a:cubicBezTo>
                      <a:pt x="378" y="477"/>
                      <a:pt x="378" y="477"/>
                      <a:pt x="378" y="477"/>
                    </a:cubicBezTo>
                    <a:cubicBezTo>
                      <a:pt x="377" y="472"/>
                      <a:pt x="377" y="472"/>
                      <a:pt x="377" y="472"/>
                    </a:cubicBezTo>
                    <a:cubicBezTo>
                      <a:pt x="383" y="471"/>
                      <a:pt x="383" y="471"/>
                      <a:pt x="383" y="471"/>
                    </a:cubicBezTo>
                    <a:cubicBezTo>
                      <a:pt x="379" y="463"/>
                      <a:pt x="379" y="463"/>
                      <a:pt x="379" y="463"/>
                    </a:cubicBezTo>
                    <a:cubicBezTo>
                      <a:pt x="387" y="464"/>
                      <a:pt x="387" y="464"/>
                      <a:pt x="387" y="464"/>
                    </a:cubicBezTo>
                    <a:cubicBezTo>
                      <a:pt x="387" y="460"/>
                      <a:pt x="387" y="460"/>
                      <a:pt x="387" y="460"/>
                    </a:cubicBezTo>
                    <a:cubicBezTo>
                      <a:pt x="390" y="463"/>
                      <a:pt x="390" y="463"/>
                      <a:pt x="390" y="463"/>
                    </a:cubicBezTo>
                    <a:cubicBezTo>
                      <a:pt x="402" y="449"/>
                      <a:pt x="402" y="449"/>
                      <a:pt x="402" y="449"/>
                    </a:cubicBezTo>
                    <a:cubicBezTo>
                      <a:pt x="394" y="439"/>
                      <a:pt x="394" y="439"/>
                      <a:pt x="394" y="439"/>
                    </a:cubicBezTo>
                    <a:cubicBezTo>
                      <a:pt x="394" y="439"/>
                      <a:pt x="378" y="437"/>
                      <a:pt x="381" y="432"/>
                    </a:cubicBezTo>
                    <a:cubicBezTo>
                      <a:pt x="382" y="427"/>
                      <a:pt x="388" y="429"/>
                      <a:pt x="388" y="429"/>
                    </a:cubicBezTo>
                    <a:cubicBezTo>
                      <a:pt x="400" y="441"/>
                      <a:pt x="400" y="441"/>
                      <a:pt x="400" y="441"/>
                    </a:cubicBezTo>
                    <a:cubicBezTo>
                      <a:pt x="407" y="419"/>
                      <a:pt x="407" y="419"/>
                      <a:pt x="407" y="419"/>
                    </a:cubicBezTo>
                    <a:cubicBezTo>
                      <a:pt x="407" y="410"/>
                      <a:pt x="407" y="410"/>
                      <a:pt x="407" y="410"/>
                    </a:cubicBezTo>
                    <a:cubicBezTo>
                      <a:pt x="421" y="405"/>
                      <a:pt x="421" y="405"/>
                      <a:pt x="421" y="405"/>
                    </a:cubicBezTo>
                    <a:cubicBezTo>
                      <a:pt x="425" y="388"/>
                      <a:pt x="425" y="388"/>
                      <a:pt x="425" y="388"/>
                    </a:cubicBezTo>
                    <a:cubicBezTo>
                      <a:pt x="426" y="394"/>
                      <a:pt x="426" y="394"/>
                      <a:pt x="426" y="394"/>
                    </a:cubicBezTo>
                    <a:cubicBezTo>
                      <a:pt x="435" y="387"/>
                      <a:pt x="435" y="387"/>
                      <a:pt x="435" y="387"/>
                    </a:cubicBezTo>
                    <a:cubicBezTo>
                      <a:pt x="435" y="387"/>
                      <a:pt x="437" y="388"/>
                      <a:pt x="441" y="386"/>
                    </a:cubicBezTo>
                    <a:cubicBezTo>
                      <a:pt x="447" y="385"/>
                      <a:pt x="447" y="367"/>
                      <a:pt x="447" y="367"/>
                    </a:cubicBezTo>
                    <a:cubicBezTo>
                      <a:pt x="447" y="367"/>
                      <a:pt x="447" y="381"/>
                      <a:pt x="453" y="381"/>
                    </a:cubicBezTo>
                    <a:cubicBezTo>
                      <a:pt x="459" y="381"/>
                      <a:pt x="470" y="384"/>
                      <a:pt x="470" y="384"/>
                    </a:cubicBezTo>
                    <a:cubicBezTo>
                      <a:pt x="457" y="387"/>
                      <a:pt x="457" y="387"/>
                      <a:pt x="457" y="387"/>
                    </a:cubicBezTo>
                    <a:cubicBezTo>
                      <a:pt x="456" y="390"/>
                      <a:pt x="456" y="390"/>
                      <a:pt x="456" y="390"/>
                    </a:cubicBezTo>
                    <a:cubicBezTo>
                      <a:pt x="443" y="391"/>
                      <a:pt x="443" y="391"/>
                      <a:pt x="443" y="391"/>
                    </a:cubicBezTo>
                    <a:cubicBezTo>
                      <a:pt x="437" y="393"/>
                      <a:pt x="437" y="393"/>
                      <a:pt x="437" y="393"/>
                    </a:cubicBezTo>
                    <a:cubicBezTo>
                      <a:pt x="442" y="395"/>
                      <a:pt x="442" y="395"/>
                      <a:pt x="442" y="395"/>
                    </a:cubicBezTo>
                    <a:cubicBezTo>
                      <a:pt x="447" y="394"/>
                      <a:pt x="447" y="394"/>
                      <a:pt x="447" y="394"/>
                    </a:cubicBezTo>
                    <a:cubicBezTo>
                      <a:pt x="447" y="394"/>
                      <a:pt x="463" y="392"/>
                      <a:pt x="459" y="395"/>
                    </a:cubicBezTo>
                    <a:cubicBezTo>
                      <a:pt x="456" y="400"/>
                      <a:pt x="445" y="405"/>
                      <a:pt x="445" y="405"/>
                    </a:cubicBezTo>
                    <a:cubicBezTo>
                      <a:pt x="451" y="407"/>
                      <a:pt x="451" y="407"/>
                      <a:pt x="451" y="407"/>
                    </a:cubicBezTo>
                    <a:cubicBezTo>
                      <a:pt x="451" y="407"/>
                      <a:pt x="459" y="402"/>
                      <a:pt x="464" y="404"/>
                    </a:cubicBezTo>
                    <a:cubicBezTo>
                      <a:pt x="467" y="406"/>
                      <a:pt x="472" y="411"/>
                      <a:pt x="482" y="410"/>
                    </a:cubicBezTo>
                    <a:cubicBezTo>
                      <a:pt x="490" y="408"/>
                      <a:pt x="499" y="402"/>
                      <a:pt x="504" y="400"/>
                    </a:cubicBezTo>
                    <a:cubicBezTo>
                      <a:pt x="510" y="398"/>
                      <a:pt x="526" y="398"/>
                      <a:pt x="526" y="398"/>
                    </a:cubicBezTo>
                    <a:cubicBezTo>
                      <a:pt x="530" y="390"/>
                      <a:pt x="530" y="390"/>
                      <a:pt x="530" y="390"/>
                    </a:cubicBezTo>
                    <a:cubicBezTo>
                      <a:pt x="536" y="401"/>
                      <a:pt x="536" y="401"/>
                      <a:pt x="536" y="401"/>
                    </a:cubicBezTo>
                    <a:cubicBezTo>
                      <a:pt x="542" y="402"/>
                      <a:pt x="542" y="402"/>
                      <a:pt x="542" y="402"/>
                    </a:cubicBezTo>
                    <a:cubicBezTo>
                      <a:pt x="540" y="409"/>
                      <a:pt x="540" y="409"/>
                      <a:pt x="540" y="409"/>
                    </a:cubicBezTo>
                    <a:cubicBezTo>
                      <a:pt x="521" y="418"/>
                      <a:pt x="521" y="418"/>
                      <a:pt x="521" y="418"/>
                    </a:cubicBezTo>
                    <a:cubicBezTo>
                      <a:pt x="520" y="423"/>
                      <a:pt x="520" y="423"/>
                      <a:pt x="520" y="423"/>
                    </a:cubicBezTo>
                    <a:cubicBezTo>
                      <a:pt x="509" y="431"/>
                      <a:pt x="509" y="431"/>
                      <a:pt x="509" y="431"/>
                    </a:cubicBezTo>
                    <a:cubicBezTo>
                      <a:pt x="509" y="431"/>
                      <a:pt x="512" y="436"/>
                      <a:pt x="509" y="437"/>
                    </a:cubicBezTo>
                    <a:cubicBezTo>
                      <a:pt x="507" y="439"/>
                      <a:pt x="503" y="440"/>
                      <a:pt x="503" y="440"/>
                    </a:cubicBezTo>
                    <a:cubicBezTo>
                      <a:pt x="496" y="455"/>
                      <a:pt x="496" y="455"/>
                      <a:pt x="496" y="455"/>
                    </a:cubicBezTo>
                    <a:cubicBezTo>
                      <a:pt x="507" y="455"/>
                      <a:pt x="507" y="455"/>
                      <a:pt x="507" y="455"/>
                    </a:cubicBezTo>
                    <a:cubicBezTo>
                      <a:pt x="507" y="455"/>
                      <a:pt x="510" y="449"/>
                      <a:pt x="514" y="449"/>
                    </a:cubicBezTo>
                    <a:cubicBezTo>
                      <a:pt x="517" y="448"/>
                      <a:pt x="521" y="450"/>
                      <a:pt x="521" y="450"/>
                    </a:cubicBezTo>
                    <a:cubicBezTo>
                      <a:pt x="524" y="444"/>
                      <a:pt x="524" y="444"/>
                      <a:pt x="524" y="444"/>
                    </a:cubicBezTo>
                    <a:cubicBezTo>
                      <a:pt x="524" y="444"/>
                      <a:pt x="522" y="451"/>
                      <a:pt x="530" y="454"/>
                    </a:cubicBezTo>
                    <a:cubicBezTo>
                      <a:pt x="536" y="458"/>
                      <a:pt x="537" y="452"/>
                      <a:pt x="543" y="453"/>
                    </a:cubicBezTo>
                    <a:cubicBezTo>
                      <a:pt x="550" y="454"/>
                      <a:pt x="555" y="464"/>
                      <a:pt x="556" y="471"/>
                    </a:cubicBezTo>
                    <a:cubicBezTo>
                      <a:pt x="557" y="479"/>
                      <a:pt x="558" y="487"/>
                      <a:pt x="558" y="487"/>
                    </a:cubicBezTo>
                    <a:cubicBezTo>
                      <a:pt x="554" y="488"/>
                      <a:pt x="554" y="488"/>
                      <a:pt x="554" y="488"/>
                    </a:cubicBezTo>
                    <a:cubicBezTo>
                      <a:pt x="555" y="493"/>
                      <a:pt x="555" y="493"/>
                      <a:pt x="555" y="493"/>
                    </a:cubicBezTo>
                    <a:cubicBezTo>
                      <a:pt x="555" y="493"/>
                      <a:pt x="564" y="500"/>
                      <a:pt x="573" y="498"/>
                    </a:cubicBezTo>
                    <a:cubicBezTo>
                      <a:pt x="583" y="496"/>
                      <a:pt x="594" y="485"/>
                      <a:pt x="597" y="480"/>
                    </a:cubicBezTo>
                    <a:cubicBezTo>
                      <a:pt x="599" y="473"/>
                      <a:pt x="596" y="468"/>
                      <a:pt x="606" y="460"/>
                    </a:cubicBezTo>
                    <a:cubicBezTo>
                      <a:pt x="616" y="451"/>
                      <a:pt x="618" y="450"/>
                      <a:pt x="623" y="451"/>
                    </a:cubicBezTo>
                    <a:cubicBezTo>
                      <a:pt x="629" y="453"/>
                      <a:pt x="627" y="446"/>
                      <a:pt x="629" y="441"/>
                    </a:cubicBezTo>
                    <a:cubicBezTo>
                      <a:pt x="631" y="438"/>
                      <a:pt x="635" y="438"/>
                      <a:pt x="635" y="438"/>
                    </a:cubicBezTo>
                    <a:cubicBezTo>
                      <a:pt x="635" y="438"/>
                      <a:pt x="631" y="424"/>
                      <a:pt x="638" y="424"/>
                    </a:cubicBezTo>
                    <a:cubicBezTo>
                      <a:pt x="646" y="424"/>
                      <a:pt x="647" y="432"/>
                      <a:pt x="655" y="429"/>
                    </a:cubicBezTo>
                    <a:cubicBezTo>
                      <a:pt x="665" y="425"/>
                      <a:pt x="663" y="421"/>
                      <a:pt x="665" y="421"/>
                    </a:cubicBezTo>
                    <a:cubicBezTo>
                      <a:pt x="668" y="420"/>
                      <a:pt x="680" y="418"/>
                      <a:pt x="679" y="414"/>
                    </a:cubicBezTo>
                    <a:cubicBezTo>
                      <a:pt x="678" y="409"/>
                      <a:pt x="671" y="406"/>
                      <a:pt x="672" y="403"/>
                    </a:cubicBezTo>
                    <a:cubicBezTo>
                      <a:pt x="674" y="400"/>
                      <a:pt x="681" y="398"/>
                      <a:pt x="680" y="393"/>
                    </a:cubicBezTo>
                    <a:cubicBezTo>
                      <a:pt x="678" y="390"/>
                      <a:pt x="669" y="390"/>
                      <a:pt x="662" y="392"/>
                    </a:cubicBezTo>
                    <a:cubicBezTo>
                      <a:pt x="655" y="395"/>
                      <a:pt x="655" y="402"/>
                      <a:pt x="652" y="403"/>
                    </a:cubicBezTo>
                    <a:cubicBezTo>
                      <a:pt x="650" y="405"/>
                      <a:pt x="646" y="400"/>
                      <a:pt x="643" y="403"/>
                    </a:cubicBezTo>
                    <a:cubicBezTo>
                      <a:pt x="639" y="406"/>
                      <a:pt x="639" y="417"/>
                      <a:pt x="633" y="418"/>
                    </a:cubicBezTo>
                    <a:cubicBezTo>
                      <a:pt x="625" y="419"/>
                      <a:pt x="608" y="419"/>
                      <a:pt x="608" y="419"/>
                    </a:cubicBezTo>
                    <a:cubicBezTo>
                      <a:pt x="608" y="419"/>
                      <a:pt x="614" y="411"/>
                      <a:pt x="608" y="405"/>
                    </a:cubicBezTo>
                    <a:cubicBezTo>
                      <a:pt x="603" y="399"/>
                      <a:pt x="590" y="400"/>
                      <a:pt x="590" y="400"/>
                    </a:cubicBezTo>
                    <a:cubicBezTo>
                      <a:pt x="588" y="395"/>
                      <a:pt x="588" y="395"/>
                      <a:pt x="588" y="395"/>
                    </a:cubicBezTo>
                    <a:cubicBezTo>
                      <a:pt x="583" y="401"/>
                      <a:pt x="583" y="401"/>
                      <a:pt x="583" y="401"/>
                    </a:cubicBezTo>
                    <a:cubicBezTo>
                      <a:pt x="590" y="388"/>
                      <a:pt x="590" y="388"/>
                      <a:pt x="590" y="388"/>
                    </a:cubicBezTo>
                    <a:cubicBezTo>
                      <a:pt x="587" y="386"/>
                      <a:pt x="587" y="386"/>
                      <a:pt x="587" y="386"/>
                    </a:cubicBezTo>
                    <a:cubicBezTo>
                      <a:pt x="579" y="397"/>
                      <a:pt x="579" y="397"/>
                      <a:pt x="579" y="397"/>
                    </a:cubicBezTo>
                    <a:cubicBezTo>
                      <a:pt x="579" y="397"/>
                      <a:pt x="584" y="386"/>
                      <a:pt x="583" y="386"/>
                    </a:cubicBezTo>
                    <a:cubicBezTo>
                      <a:pt x="581" y="387"/>
                      <a:pt x="576" y="389"/>
                      <a:pt x="576" y="389"/>
                    </a:cubicBezTo>
                    <a:cubicBezTo>
                      <a:pt x="576" y="389"/>
                      <a:pt x="571" y="387"/>
                      <a:pt x="568" y="387"/>
                    </a:cubicBezTo>
                    <a:cubicBezTo>
                      <a:pt x="564" y="387"/>
                      <a:pt x="562" y="391"/>
                      <a:pt x="562" y="391"/>
                    </a:cubicBezTo>
                    <a:cubicBezTo>
                      <a:pt x="554" y="388"/>
                      <a:pt x="554" y="388"/>
                      <a:pt x="554" y="388"/>
                    </a:cubicBezTo>
                    <a:cubicBezTo>
                      <a:pt x="554" y="388"/>
                      <a:pt x="549" y="392"/>
                      <a:pt x="542" y="388"/>
                    </a:cubicBezTo>
                    <a:cubicBezTo>
                      <a:pt x="536" y="384"/>
                      <a:pt x="538" y="381"/>
                      <a:pt x="542" y="379"/>
                    </a:cubicBezTo>
                    <a:cubicBezTo>
                      <a:pt x="547" y="379"/>
                      <a:pt x="553" y="385"/>
                      <a:pt x="553" y="385"/>
                    </a:cubicBezTo>
                    <a:cubicBezTo>
                      <a:pt x="556" y="378"/>
                      <a:pt x="556" y="378"/>
                      <a:pt x="556" y="378"/>
                    </a:cubicBezTo>
                    <a:cubicBezTo>
                      <a:pt x="553" y="372"/>
                      <a:pt x="553" y="372"/>
                      <a:pt x="553" y="372"/>
                    </a:cubicBezTo>
                    <a:cubicBezTo>
                      <a:pt x="562" y="378"/>
                      <a:pt x="562" y="378"/>
                      <a:pt x="562" y="378"/>
                    </a:cubicBezTo>
                    <a:cubicBezTo>
                      <a:pt x="572" y="377"/>
                      <a:pt x="572" y="377"/>
                      <a:pt x="572" y="377"/>
                    </a:cubicBezTo>
                    <a:cubicBezTo>
                      <a:pt x="574" y="385"/>
                      <a:pt x="574" y="385"/>
                      <a:pt x="574" y="385"/>
                    </a:cubicBezTo>
                    <a:cubicBezTo>
                      <a:pt x="578" y="385"/>
                      <a:pt x="578" y="385"/>
                      <a:pt x="578" y="385"/>
                    </a:cubicBezTo>
                    <a:cubicBezTo>
                      <a:pt x="578" y="371"/>
                      <a:pt x="578" y="371"/>
                      <a:pt x="578" y="371"/>
                    </a:cubicBezTo>
                    <a:cubicBezTo>
                      <a:pt x="582" y="379"/>
                      <a:pt x="582" y="379"/>
                      <a:pt x="582" y="379"/>
                    </a:cubicBezTo>
                    <a:cubicBezTo>
                      <a:pt x="588" y="379"/>
                      <a:pt x="588" y="379"/>
                      <a:pt x="588" y="379"/>
                    </a:cubicBezTo>
                    <a:cubicBezTo>
                      <a:pt x="583" y="367"/>
                      <a:pt x="583" y="367"/>
                      <a:pt x="583" y="367"/>
                    </a:cubicBezTo>
                    <a:cubicBezTo>
                      <a:pt x="583" y="367"/>
                      <a:pt x="592" y="369"/>
                      <a:pt x="595" y="361"/>
                    </a:cubicBezTo>
                    <a:cubicBezTo>
                      <a:pt x="597" y="353"/>
                      <a:pt x="594" y="348"/>
                      <a:pt x="594" y="348"/>
                    </a:cubicBezTo>
                    <a:cubicBezTo>
                      <a:pt x="602" y="353"/>
                      <a:pt x="602" y="353"/>
                      <a:pt x="602" y="353"/>
                    </a:cubicBezTo>
                    <a:cubicBezTo>
                      <a:pt x="603" y="350"/>
                      <a:pt x="603" y="350"/>
                      <a:pt x="603" y="350"/>
                    </a:cubicBezTo>
                    <a:cubicBezTo>
                      <a:pt x="592" y="336"/>
                      <a:pt x="592" y="336"/>
                      <a:pt x="592" y="336"/>
                    </a:cubicBezTo>
                    <a:cubicBezTo>
                      <a:pt x="592" y="336"/>
                      <a:pt x="600" y="344"/>
                      <a:pt x="606" y="343"/>
                    </a:cubicBezTo>
                    <a:cubicBezTo>
                      <a:pt x="613" y="342"/>
                      <a:pt x="615" y="323"/>
                      <a:pt x="622" y="323"/>
                    </a:cubicBezTo>
                    <a:cubicBezTo>
                      <a:pt x="629" y="323"/>
                      <a:pt x="636" y="323"/>
                      <a:pt x="638" y="321"/>
                    </a:cubicBezTo>
                    <a:cubicBezTo>
                      <a:pt x="640" y="319"/>
                      <a:pt x="641" y="314"/>
                      <a:pt x="641" y="314"/>
                    </a:cubicBezTo>
                    <a:cubicBezTo>
                      <a:pt x="649" y="306"/>
                      <a:pt x="649" y="306"/>
                      <a:pt x="649" y="306"/>
                    </a:cubicBezTo>
                    <a:cubicBezTo>
                      <a:pt x="657" y="308"/>
                      <a:pt x="657" y="308"/>
                      <a:pt x="657" y="308"/>
                    </a:cubicBezTo>
                    <a:cubicBezTo>
                      <a:pt x="658" y="305"/>
                      <a:pt x="658" y="305"/>
                      <a:pt x="658" y="305"/>
                    </a:cubicBezTo>
                    <a:cubicBezTo>
                      <a:pt x="657" y="299"/>
                      <a:pt x="657" y="299"/>
                      <a:pt x="657" y="299"/>
                    </a:cubicBezTo>
                    <a:cubicBezTo>
                      <a:pt x="669" y="288"/>
                      <a:pt x="669" y="288"/>
                      <a:pt x="669" y="288"/>
                    </a:cubicBezTo>
                    <a:cubicBezTo>
                      <a:pt x="669" y="288"/>
                      <a:pt x="676" y="288"/>
                      <a:pt x="678" y="285"/>
                    </a:cubicBezTo>
                    <a:cubicBezTo>
                      <a:pt x="680" y="282"/>
                      <a:pt x="674" y="273"/>
                      <a:pt x="681" y="272"/>
                    </a:cubicBezTo>
                    <a:cubicBezTo>
                      <a:pt x="687" y="269"/>
                      <a:pt x="690" y="271"/>
                      <a:pt x="690" y="271"/>
                    </a:cubicBezTo>
                    <a:cubicBezTo>
                      <a:pt x="690" y="271"/>
                      <a:pt x="706" y="267"/>
                      <a:pt x="707" y="263"/>
                    </a:cubicBezTo>
                    <a:cubicBezTo>
                      <a:pt x="709" y="259"/>
                      <a:pt x="706" y="253"/>
                      <a:pt x="702" y="246"/>
                    </a:cubicBezTo>
                    <a:cubicBezTo>
                      <a:pt x="698" y="240"/>
                      <a:pt x="698" y="227"/>
                      <a:pt x="704" y="224"/>
                    </a:cubicBezTo>
                    <a:cubicBezTo>
                      <a:pt x="711" y="220"/>
                      <a:pt x="716" y="217"/>
                      <a:pt x="716" y="214"/>
                    </a:cubicBezTo>
                    <a:cubicBezTo>
                      <a:pt x="715" y="210"/>
                      <a:pt x="714" y="205"/>
                      <a:pt x="721" y="202"/>
                    </a:cubicBezTo>
                    <a:cubicBezTo>
                      <a:pt x="729" y="200"/>
                      <a:pt x="756" y="197"/>
                      <a:pt x="755" y="190"/>
                    </a:cubicBezTo>
                    <a:cubicBezTo>
                      <a:pt x="755" y="184"/>
                      <a:pt x="750" y="180"/>
                      <a:pt x="750" y="180"/>
                    </a:cubicBezTo>
                    <a:cubicBezTo>
                      <a:pt x="753" y="177"/>
                      <a:pt x="753" y="177"/>
                      <a:pt x="753" y="177"/>
                    </a:cubicBezTo>
                    <a:cubicBezTo>
                      <a:pt x="752" y="163"/>
                      <a:pt x="752" y="163"/>
                      <a:pt x="752" y="163"/>
                    </a:cubicBezTo>
                    <a:cubicBezTo>
                      <a:pt x="747" y="162"/>
                      <a:pt x="747" y="162"/>
                      <a:pt x="747" y="162"/>
                    </a:cubicBezTo>
                    <a:cubicBezTo>
                      <a:pt x="747" y="162"/>
                      <a:pt x="751" y="154"/>
                      <a:pt x="744" y="150"/>
                    </a:cubicBezTo>
                    <a:cubicBezTo>
                      <a:pt x="737" y="146"/>
                      <a:pt x="731" y="147"/>
                      <a:pt x="731" y="147"/>
                    </a:cubicBezTo>
                    <a:cubicBezTo>
                      <a:pt x="731" y="132"/>
                      <a:pt x="731" y="132"/>
                      <a:pt x="731" y="132"/>
                    </a:cubicBezTo>
                    <a:cubicBezTo>
                      <a:pt x="740" y="129"/>
                      <a:pt x="740" y="129"/>
                      <a:pt x="740" y="129"/>
                    </a:cubicBezTo>
                    <a:cubicBezTo>
                      <a:pt x="740" y="124"/>
                      <a:pt x="740" y="124"/>
                      <a:pt x="740" y="124"/>
                    </a:cubicBezTo>
                    <a:cubicBezTo>
                      <a:pt x="723" y="125"/>
                      <a:pt x="723" y="125"/>
                      <a:pt x="723" y="125"/>
                    </a:cubicBezTo>
                    <a:cubicBezTo>
                      <a:pt x="723" y="119"/>
                      <a:pt x="723" y="119"/>
                      <a:pt x="723" y="119"/>
                    </a:cubicBezTo>
                    <a:cubicBezTo>
                      <a:pt x="723" y="119"/>
                      <a:pt x="736" y="109"/>
                      <a:pt x="734" y="101"/>
                    </a:cubicBezTo>
                    <a:cubicBezTo>
                      <a:pt x="731" y="92"/>
                      <a:pt x="725" y="89"/>
                      <a:pt x="725" y="89"/>
                    </a:cubicBezTo>
                    <a:cubicBezTo>
                      <a:pt x="725" y="78"/>
                      <a:pt x="725" y="78"/>
                      <a:pt x="725" y="78"/>
                    </a:cubicBezTo>
                    <a:cubicBezTo>
                      <a:pt x="719" y="78"/>
                      <a:pt x="719" y="78"/>
                      <a:pt x="719" y="78"/>
                    </a:cubicBezTo>
                    <a:cubicBezTo>
                      <a:pt x="717" y="85"/>
                      <a:pt x="717" y="85"/>
                      <a:pt x="717" y="85"/>
                    </a:cubicBezTo>
                    <a:cubicBezTo>
                      <a:pt x="717" y="85"/>
                      <a:pt x="711" y="87"/>
                      <a:pt x="706" y="85"/>
                    </a:cubicBezTo>
                    <a:cubicBezTo>
                      <a:pt x="702" y="83"/>
                      <a:pt x="700" y="79"/>
                      <a:pt x="700" y="79"/>
                    </a:cubicBezTo>
                    <a:cubicBezTo>
                      <a:pt x="693" y="79"/>
                      <a:pt x="693" y="79"/>
                      <a:pt x="693" y="79"/>
                    </a:cubicBezTo>
                    <a:cubicBezTo>
                      <a:pt x="691" y="83"/>
                      <a:pt x="691" y="83"/>
                      <a:pt x="691" y="83"/>
                    </a:cubicBezTo>
                    <a:cubicBezTo>
                      <a:pt x="691" y="83"/>
                      <a:pt x="686" y="84"/>
                      <a:pt x="685" y="82"/>
                    </a:cubicBezTo>
                    <a:cubicBezTo>
                      <a:pt x="684" y="79"/>
                      <a:pt x="681" y="75"/>
                      <a:pt x="681" y="75"/>
                    </a:cubicBezTo>
                    <a:cubicBezTo>
                      <a:pt x="676" y="76"/>
                      <a:pt x="676" y="76"/>
                      <a:pt x="676" y="76"/>
                    </a:cubicBezTo>
                    <a:cubicBezTo>
                      <a:pt x="674" y="84"/>
                      <a:pt x="674" y="84"/>
                      <a:pt x="674" y="84"/>
                    </a:cubicBezTo>
                    <a:cubicBezTo>
                      <a:pt x="666" y="84"/>
                      <a:pt x="666" y="84"/>
                      <a:pt x="666" y="84"/>
                    </a:cubicBezTo>
                    <a:cubicBezTo>
                      <a:pt x="656" y="78"/>
                      <a:pt x="656" y="78"/>
                      <a:pt x="656" y="78"/>
                    </a:cubicBezTo>
                    <a:cubicBezTo>
                      <a:pt x="652" y="84"/>
                      <a:pt x="652" y="84"/>
                      <a:pt x="652" y="84"/>
                    </a:cubicBezTo>
                    <a:cubicBezTo>
                      <a:pt x="637" y="79"/>
                      <a:pt x="637" y="79"/>
                      <a:pt x="637" y="79"/>
                    </a:cubicBezTo>
                    <a:cubicBezTo>
                      <a:pt x="637" y="89"/>
                      <a:pt x="637" y="89"/>
                      <a:pt x="637" y="89"/>
                    </a:cubicBezTo>
                    <a:cubicBezTo>
                      <a:pt x="634" y="92"/>
                      <a:pt x="634" y="92"/>
                      <a:pt x="634" y="92"/>
                    </a:cubicBezTo>
                    <a:cubicBezTo>
                      <a:pt x="629" y="89"/>
                      <a:pt x="629" y="89"/>
                      <a:pt x="629" y="89"/>
                    </a:cubicBezTo>
                    <a:cubicBezTo>
                      <a:pt x="619" y="89"/>
                      <a:pt x="619" y="89"/>
                      <a:pt x="619" y="89"/>
                    </a:cubicBezTo>
                    <a:cubicBezTo>
                      <a:pt x="609" y="79"/>
                      <a:pt x="609" y="79"/>
                      <a:pt x="609" y="79"/>
                    </a:cubicBezTo>
                    <a:cubicBezTo>
                      <a:pt x="608" y="75"/>
                      <a:pt x="608" y="75"/>
                      <a:pt x="608" y="75"/>
                    </a:cubicBezTo>
                    <a:cubicBezTo>
                      <a:pt x="603" y="74"/>
                      <a:pt x="603" y="74"/>
                      <a:pt x="603" y="74"/>
                    </a:cubicBezTo>
                    <a:cubicBezTo>
                      <a:pt x="599" y="69"/>
                      <a:pt x="599" y="69"/>
                      <a:pt x="599" y="69"/>
                    </a:cubicBezTo>
                    <a:cubicBezTo>
                      <a:pt x="589" y="80"/>
                      <a:pt x="589" y="80"/>
                      <a:pt x="589" y="80"/>
                    </a:cubicBezTo>
                    <a:cubicBezTo>
                      <a:pt x="589" y="80"/>
                      <a:pt x="578" y="84"/>
                      <a:pt x="576" y="87"/>
                    </a:cubicBezTo>
                    <a:cubicBezTo>
                      <a:pt x="575" y="91"/>
                      <a:pt x="572" y="98"/>
                      <a:pt x="572" y="98"/>
                    </a:cubicBezTo>
                    <a:cubicBezTo>
                      <a:pt x="567" y="96"/>
                      <a:pt x="567" y="96"/>
                      <a:pt x="567" y="96"/>
                    </a:cubicBezTo>
                    <a:cubicBezTo>
                      <a:pt x="566" y="91"/>
                      <a:pt x="566" y="91"/>
                      <a:pt x="566" y="91"/>
                    </a:cubicBezTo>
                    <a:cubicBezTo>
                      <a:pt x="559" y="91"/>
                      <a:pt x="559" y="91"/>
                      <a:pt x="559" y="91"/>
                    </a:cubicBezTo>
                    <a:cubicBezTo>
                      <a:pt x="559" y="91"/>
                      <a:pt x="559" y="95"/>
                      <a:pt x="556" y="95"/>
                    </a:cubicBezTo>
                    <a:cubicBezTo>
                      <a:pt x="553" y="95"/>
                      <a:pt x="553" y="88"/>
                      <a:pt x="548" y="89"/>
                    </a:cubicBezTo>
                    <a:cubicBezTo>
                      <a:pt x="542" y="90"/>
                      <a:pt x="541" y="92"/>
                      <a:pt x="535" y="96"/>
                    </a:cubicBezTo>
                    <a:cubicBezTo>
                      <a:pt x="530" y="101"/>
                      <a:pt x="514" y="89"/>
                      <a:pt x="514" y="89"/>
                    </a:cubicBezTo>
                    <a:cubicBezTo>
                      <a:pt x="516" y="84"/>
                      <a:pt x="516" y="84"/>
                      <a:pt x="516" y="84"/>
                    </a:cubicBezTo>
                    <a:cubicBezTo>
                      <a:pt x="503" y="68"/>
                      <a:pt x="503" y="68"/>
                      <a:pt x="503" y="68"/>
                    </a:cubicBezTo>
                    <a:cubicBezTo>
                      <a:pt x="503" y="68"/>
                      <a:pt x="506" y="60"/>
                      <a:pt x="505" y="60"/>
                    </a:cubicBezTo>
                    <a:cubicBezTo>
                      <a:pt x="504" y="60"/>
                      <a:pt x="500" y="59"/>
                      <a:pt x="500" y="59"/>
                    </a:cubicBezTo>
                    <a:cubicBezTo>
                      <a:pt x="494" y="63"/>
                      <a:pt x="494" y="63"/>
                      <a:pt x="494" y="63"/>
                    </a:cubicBezTo>
                    <a:cubicBezTo>
                      <a:pt x="494" y="63"/>
                      <a:pt x="494" y="54"/>
                      <a:pt x="489" y="54"/>
                    </a:cubicBezTo>
                    <a:cubicBezTo>
                      <a:pt x="484" y="54"/>
                      <a:pt x="474" y="64"/>
                      <a:pt x="474" y="64"/>
                    </a:cubicBezTo>
                    <a:cubicBezTo>
                      <a:pt x="468" y="60"/>
                      <a:pt x="468" y="60"/>
                      <a:pt x="468" y="60"/>
                    </a:cubicBezTo>
                    <a:cubicBezTo>
                      <a:pt x="454" y="63"/>
                      <a:pt x="454" y="63"/>
                      <a:pt x="454" y="63"/>
                    </a:cubicBezTo>
                    <a:cubicBezTo>
                      <a:pt x="455" y="56"/>
                      <a:pt x="455" y="56"/>
                      <a:pt x="455" y="56"/>
                    </a:cubicBezTo>
                    <a:cubicBezTo>
                      <a:pt x="450" y="56"/>
                      <a:pt x="450" y="56"/>
                      <a:pt x="450" y="56"/>
                    </a:cubicBezTo>
                    <a:cubicBezTo>
                      <a:pt x="450" y="56"/>
                      <a:pt x="452" y="48"/>
                      <a:pt x="447" y="45"/>
                    </a:cubicBezTo>
                    <a:cubicBezTo>
                      <a:pt x="442" y="41"/>
                      <a:pt x="439" y="40"/>
                      <a:pt x="439" y="40"/>
                    </a:cubicBezTo>
                    <a:cubicBezTo>
                      <a:pt x="439" y="40"/>
                      <a:pt x="457" y="36"/>
                      <a:pt x="454" y="30"/>
                    </a:cubicBezTo>
                    <a:cubicBezTo>
                      <a:pt x="451" y="26"/>
                      <a:pt x="439" y="25"/>
                      <a:pt x="435" y="20"/>
                    </a:cubicBezTo>
                    <a:cubicBezTo>
                      <a:pt x="431" y="14"/>
                      <a:pt x="431" y="7"/>
                      <a:pt x="431" y="7"/>
                    </a:cubicBezTo>
                    <a:cubicBezTo>
                      <a:pt x="422" y="6"/>
                      <a:pt x="422" y="6"/>
                      <a:pt x="422" y="6"/>
                    </a:cubicBezTo>
                    <a:cubicBezTo>
                      <a:pt x="422" y="6"/>
                      <a:pt x="423" y="0"/>
                      <a:pt x="415" y="0"/>
                    </a:cubicBezTo>
                    <a:cubicBezTo>
                      <a:pt x="407" y="1"/>
                      <a:pt x="407" y="7"/>
                      <a:pt x="407" y="7"/>
                    </a:cubicBezTo>
                    <a:cubicBezTo>
                      <a:pt x="394" y="7"/>
                      <a:pt x="394" y="7"/>
                      <a:pt x="394" y="7"/>
                    </a:cubicBezTo>
                    <a:cubicBezTo>
                      <a:pt x="394" y="7"/>
                      <a:pt x="388" y="19"/>
                      <a:pt x="384" y="20"/>
                    </a:cubicBezTo>
                    <a:cubicBezTo>
                      <a:pt x="379" y="21"/>
                      <a:pt x="362" y="20"/>
                      <a:pt x="362" y="20"/>
                    </a:cubicBezTo>
                    <a:cubicBezTo>
                      <a:pt x="362" y="20"/>
                      <a:pt x="363" y="35"/>
                      <a:pt x="358" y="38"/>
                    </a:cubicBezTo>
                    <a:cubicBezTo>
                      <a:pt x="355" y="41"/>
                      <a:pt x="348" y="40"/>
                      <a:pt x="344" y="40"/>
                    </a:cubicBezTo>
                    <a:cubicBezTo>
                      <a:pt x="352" y="46"/>
                      <a:pt x="352" y="46"/>
                      <a:pt x="352" y="46"/>
                    </a:cubicBezTo>
                    <a:cubicBezTo>
                      <a:pt x="348" y="50"/>
                      <a:pt x="348" y="50"/>
                      <a:pt x="348" y="50"/>
                    </a:cubicBezTo>
                    <a:lnTo>
                      <a:pt x="338" y="5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3" name="Georgi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7708694" y="3751086"/>
                <a:ext cx="1034982" cy="429615"/>
              </a:xfrm>
              <a:custGeom>
                <a:avLst/>
                <a:gdLst/>
                <a:ahLst/>
                <a:cxnLst>
                  <a:cxn ang="0">
                    <a:pos x="356" y="49"/>
                  </a:cxn>
                  <a:cxn ang="0">
                    <a:pos x="335" y="43"/>
                  </a:cxn>
                  <a:cxn ang="0">
                    <a:pos x="328" y="30"/>
                  </a:cxn>
                  <a:cxn ang="0">
                    <a:pos x="323" y="20"/>
                  </a:cxn>
                  <a:cxn ang="0">
                    <a:pos x="278" y="0"/>
                  </a:cxn>
                  <a:cxn ang="0">
                    <a:pos x="261" y="9"/>
                  </a:cxn>
                  <a:cxn ang="0">
                    <a:pos x="242" y="6"/>
                  </a:cxn>
                  <a:cxn ang="0">
                    <a:pos x="235" y="15"/>
                  </a:cxn>
                  <a:cxn ang="0">
                    <a:pos x="209" y="20"/>
                  </a:cxn>
                  <a:cxn ang="0">
                    <a:pos x="197" y="36"/>
                  </a:cxn>
                  <a:cxn ang="0">
                    <a:pos x="186" y="29"/>
                  </a:cxn>
                  <a:cxn ang="0">
                    <a:pos x="145" y="31"/>
                  </a:cxn>
                  <a:cxn ang="0">
                    <a:pos x="119" y="30"/>
                  </a:cxn>
                  <a:cxn ang="0">
                    <a:pos x="83" y="45"/>
                  </a:cxn>
                  <a:cxn ang="0">
                    <a:pos x="56" y="46"/>
                  </a:cxn>
                  <a:cxn ang="0">
                    <a:pos x="48" y="47"/>
                  </a:cxn>
                  <a:cxn ang="0">
                    <a:pos x="23" y="49"/>
                  </a:cxn>
                  <a:cxn ang="0">
                    <a:pos x="0" y="66"/>
                  </a:cxn>
                  <a:cxn ang="0">
                    <a:pos x="17" y="76"/>
                  </a:cxn>
                  <a:cxn ang="0">
                    <a:pos x="56" y="72"/>
                  </a:cxn>
                  <a:cxn ang="0">
                    <a:pos x="79" y="77"/>
                  </a:cxn>
                  <a:cxn ang="0">
                    <a:pos x="101" y="95"/>
                  </a:cxn>
                  <a:cxn ang="0">
                    <a:pos x="109" y="104"/>
                  </a:cxn>
                  <a:cxn ang="0">
                    <a:pos x="122" y="126"/>
                  </a:cxn>
                  <a:cxn ang="0">
                    <a:pos x="119" y="152"/>
                  </a:cxn>
                  <a:cxn ang="0">
                    <a:pos x="149" y="138"/>
                  </a:cxn>
                  <a:cxn ang="0">
                    <a:pos x="168" y="122"/>
                  </a:cxn>
                  <a:cxn ang="0">
                    <a:pos x="205" y="136"/>
                  </a:cxn>
                  <a:cxn ang="0">
                    <a:pos x="216" y="136"/>
                  </a:cxn>
                  <a:cxn ang="0">
                    <a:pos x="231" y="127"/>
                  </a:cxn>
                  <a:cxn ang="0">
                    <a:pos x="243" y="116"/>
                  </a:cxn>
                  <a:cxn ang="0">
                    <a:pos x="258" y="111"/>
                  </a:cxn>
                  <a:cxn ang="0">
                    <a:pos x="272" y="95"/>
                  </a:cxn>
                  <a:cxn ang="0">
                    <a:pos x="291" y="72"/>
                  </a:cxn>
                  <a:cxn ang="0">
                    <a:pos x="317" y="75"/>
                  </a:cxn>
                  <a:cxn ang="0">
                    <a:pos x="336" y="66"/>
                  </a:cxn>
                </a:cxnLst>
                <a:rect l="0" t="0" r="r" b="b"/>
                <a:pathLst>
                  <a:path w="366" h="152">
                    <a:moveTo>
                      <a:pt x="356" y="68"/>
                    </a:moveTo>
                    <a:cubicBezTo>
                      <a:pt x="362" y="62"/>
                      <a:pt x="366" y="50"/>
                      <a:pt x="356" y="49"/>
                    </a:cubicBezTo>
                    <a:cubicBezTo>
                      <a:pt x="344" y="48"/>
                      <a:pt x="334" y="47"/>
                      <a:pt x="334" y="47"/>
                    </a:cubicBezTo>
                    <a:cubicBezTo>
                      <a:pt x="335" y="43"/>
                      <a:pt x="335" y="43"/>
                      <a:pt x="335" y="43"/>
                    </a:cubicBezTo>
                    <a:cubicBezTo>
                      <a:pt x="335" y="43"/>
                      <a:pt x="323" y="48"/>
                      <a:pt x="322" y="41"/>
                    </a:cubicBezTo>
                    <a:cubicBezTo>
                      <a:pt x="322" y="33"/>
                      <a:pt x="328" y="30"/>
                      <a:pt x="328" y="30"/>
                    </a:cubicBezTo>
                    <a:cubicBezTo>
                      <a:pt x="326" y="20"/>
                      <a:pt x="326" y="20"/>
                      <a:pt x="326" y="20"/>
                    </a:cubicBezTo>
                    <a:cubicBezTo>
                      <a:pt x="323" y="20"/>
                      <a:pt x="323" y="20"/>
                      <a:pt x="323" y="20"/>
                    </a:cubicBezTo>
                    <a:cubicBezTo>
                      <a:pt x="313" y="20"/>
                      <a:pt x="291" y="25"/>
                      <a:pt x="285" y="21"/>
                    </a:cubicBezTo>
                    <a:cubicBezTo>
                      <a:pt x="281" y="17"/>
                      <a:pt x="278" y="0"/>
                      <a:pt x="278" y="0"/>
                    </a:cubicBezTo>
                    <a:cubicBezTo>
                      <a:pt x="267" y="3"/>
                      <a:pt x="267" y="3"/>
                      <a:pt x="267" y="3"/>
                    </a:cubicBezTo>
                    <a:cubicBezTo>
                      <a:pt x="261" y="9"/>
                      <a:pt x="261" y="9"/>
                      <a:pt x="261" y="9"/>
                    </a:cubicBezTo>
                    <a:cubicBezTo>
                      <a:pt x="250" y="2"/>
                      <a:pt x="250" y="2"/>
                      <a:pt x="250" y="2"/>
                    </a:cubicBezTo>
                    <a:cubicBezTo>
                      <a:pt x="242" y="6"/>
                      <a:pt x="242" y="6"/>
                      <a:pt x="242" y="6"/>
                    </a:cubicBezTo>
                    <a:cubicBezTo>
                      <a:pt x="235" y="5"/>
                      <a:pt x="235" y="5"/>
                      <a:pt x="235" y="5"/>
                    </a:cubicBezTo>
                    <a:cubicBezTo>
                      <a:pt x="235" y="15"/>
                      <a:pt x="235" y="15"/>
                      <a:pt x="235" y="15"/>
                    </a:cubicBezTo>
                    <a:cubicBezTo>
                      <a:pt x="235" y="15"/>
                      <a:pt x="224" y="10"/>
                      <a:pt x="219" y="12"/>
                    </a:cubicBezTo>
                    <a:cubicBezTo>
                      <a:pt x="215" y="15"/>
                      <a:pt x="209" y="20"/>
                      <a:pt x="209" y="20"/>
                    </a:cubicBezTo>
                    <a:cubicBezTo>
                      <a:pt x="209" y="27"/>
                      <a:pt x="209" y="27"/>
                      <a:pt x="209" y="27"/>
                    </a:cubicBezTo>
                    <a:cubicBezTo>
                      <a:pt x="209" y="27"/>
                      <a:pt x="203" y="36"/>
                      <a:pt x="197" y="36"/>
                    </a:cubicBezTo>
                    <a:cubicBezTo>
                      <a:pt x="191" y="37"/>
                      <a:pt x="184" y="35"/>
                      <a:pt x="184" y="35"/>
                    </a:cubicBezTo>
                    <a:cubicBezTo>
                      <a:pt x="186" y="29"/>
                      <a:pt x="186" y="29"/>
                      <a:pt x="186" y="29"/>
                    </a:cubicBezTo>
                    <a:cubicBezTo>
                      <a:pt x="168" y="29"/>
                      <a:pt x="168" y="29"/>
                      <a:pt x="168" y="29"/>
                    </a:cubicBezTo>
                    <a:cubicBezTo>
                      <a:pt x="168" y="29"/>
                      <a:pt x="151" y="34"/>
                      <a:pt x="145" y="31"/>
                    </a:cubicBezTo>
                    <a:cubicBezTo>
                      <a:pt x="138" y="29"/>
                      <a:pt x="137" y="24"/>
                      <a:pt x="130" y="25"/>
                    </a:cubicBezTo>
                    <a:cubicBezTo>
                      <a:pt x="122" y="25"/>
                      <a:pt x="119" y="30"/>
                      <a:pt x="119" y="30"/>
                    </a:cubicBezTo>
                    <a:cubicBezTo>
                      <a:pt x="113" y="29"/>
                      <a:pt x="113" y="29"/>
                      <a:pt x="113" y="29"/>
                    </a:cubicBezTo>
                    <a:cubicBezTo>
                      <a:pt x="113" y="29"/>
                      <a:pt x="96" y="43"/>
                      <a:pt x="83" y="45"/>
                    </a:cubicBezTo>
                    <a:cubicBezTo>
                      <a:pt x="71" y="48"/>
                      <a:pt x="61" y="42"/>
                      <a:pt x="61" y="42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49" y="46"/>
                      <a:pt x="49" y="46"/>
                      <a:pt x="49" y="46"/>
                    </a:cubicBezTo>
                    <a:cubicBezTo>
                      <a:pt x="48" y="47"/>
                      <a:pt x="48" y="47"/>
                      <a:pt x="48" y="47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3" y="49"/>
                      <a:pt x="23" y="49"/>
                      <a:pt x="23" y="49"/>
                    </a:cubicBezTo>
                    <a:cubicBezTo>
                      <a:pt x="23" y="49"/>
                      <a:pt x="7" y="47"/>
                      <a:pt x="4" y="51"/>
                    </a:cubicBezTo>
                    <a:cubicBezTo>
                      <a:pt x="0" y="56"/>
                      <a:pt x="0" y="66"/>
                      <a:pt x="0" y="66"/>
                    </a:cubicBezTo>
                    <a:cubicBezTo>
                      <a:pt x="0" y="66"/>
                      <a:pt x="3" y="67"/>
                      <a:pt x="8" y="67"/>
                    </a:cubicBezTo>
                    <a:cubicBezTo>
                      <a:pt x="14" y="68"/>
                      <a:pt x="17" y="76"/>
                      <a:pt x="17" y="76"/>
                    </a:cubicBezTo>
                    <a:cubicBezTo>
                      <a:pt x="44" y="71"/>
                      <a:pt x="44" y="71"/>
                      <a:pt x="44" y="71"/>
                    </a:cubicBezTo>
                    <a:cubicBezTo>
                      <a:pt x="56" y="72"/>
                      <a:pt x="56" y="72"/>
                      <a:pt x="56" y="72"/>
                    </a:cubicBezTo>
                    <a:cubicBezTo>
                      <a:pt x="63" y="81"/>
                      <a:pt x="63" y="81"/>
                      <a:pt x="63" y="81"/>
                    </a:cubicBezTo>
                    <a:cubicBezTo>
                      <a:pt x="63" y="81"/>
                      <a:pt x="70" y="72"/>
                      <a:pt x="79" y="77"/>
                    </a:cubicBezTo>
                    <a:cubicBezTo>
                      <a:pt x="87" y="83"/>
                      <a:pt x="95" y="97"/>
                      <a:pt x="95" y="97"/>
                    </a:cubicBezTo>
                    <a:cubicBezTo>
                      <a:pt x="101" y="95"/>
                      <a:pt x="101" y="95"/>
                      <a:pt x="101" y="95"/>
                    </a:cubicBezTo>
                    <a:cubicBezTo>
                      <a:pt x="102" y="106"/>
                      <a:pt x="102" y="106"/>
                      <a:pt x="102" y="106"/>
                    </a:cubicBezTo>
                    <a:cubicBezTo>
                      <a:pt x="109" y="104"/>
                      <a:pt x="109" y="104"/>
                      <a:pt x="109" y="104"/>
                    </a:cubicBezTo>
                    <a:cubicBezTo>
                      <a:pt x="108" y="112"/>
                      <a:pt x="108" y="112"/>
                      <a:pt x="108" y="112"/>
                    </a:cubicBezTo>
                    <a:cubicBezTo>
                      <a:pt x="108" y="112"/>
                      <a:pt x="122" y="115"/>
                      <a:pt x="122" y="126"/>
                    </a:cubicBezTo>
                    <a:cubicBezTo>
                      <a:pt x="121" y="136"/>
                      <a:pt x="117" y="139"/>
                      <a:pt x="117" y="139"/>
                    </a:cubicBezTo>
                    <a:cubicBezTo>
                      <a:pt x="119" y="152"/>
                      <a:pt x="119" y="152"/>
                      <a:pt x="119" y="152"/>
                    </a:cubicBezTo>
                    <a:cubicBezTo>
                      <a:pt x="133" y="150"/>
                      <a:pt x="133" y="150"/>
                      <a:pt x="133" y="150"/>
                    </a:cubicBezTo>
                    <a:cubicBezTo>
                      <a:pt x="133" y="150"/>
                      <a:pt x="142" y="139"/>
                      <a:pt x="149" y="138"/>
                    </a:cubicBezTo>
                    <a:cubicBezTo>
                      <a:pt x="157" y="137"/>
                      <a:pt x="165" y="136"/>
                      <a:pt x="165" y="136"/>
                    </a:cubicBezTo>
                    <a:cubicBezTo>
                      <a:pt x="165" y="136"/>
                      <a:pt x="163" y="122"/>
                      <a:pt x="168" y="122"/>
                    </a:cubicBezTo>
                    <a:cubicBezTo>
                      <a:pt x="175" y="122"/>
                      <a:pt x="179" y="126"/>
                      <a:pt x="179" y="126"/>
                    </a:cubicBezTo>
                    <a:cubicBezTo>
                      <a:pt x="205" y="136"/>
                      <a:pt x="205" y="136"/>
                      <a:pt x="205" y="136"/>
                    </a:cubicBezTo>
                    <a:cubicBezTo>
                      <a:pt x="205" y="136"/>
                      <a:pt x="210" y="130"/>
                      <a:pt x="214" y="130"/>
                    </a:cubicBezTo>
                    <a:cubicBezTo>
                      <a:pt x="216" y="130"/>
                      <a:pt x="215" y="132"/>
                      <a:pt x="216" y="136"/>
                    </a:cubicBezTo>
                    <a:cubicBezTo>
                      <a:pt x="218" y="132"/>
                      <a:pt x="220" y="130"/>
                      <a:pt x="221" y="130"/>
                    </a:cubicBezTo>
                    <a:cubicBezTo>
                      <a:pt x="225" y="130"/>
                      <a:pt x="231" y="127"/>
                      <a:pt x="231" y="127"/>
                    </a:cubicBezTo>
                    <a:cubicBezTo>
                      <a:pt x="232" y="123"/>
                      <a:pt x="232" y="123"/>
                      <a:pt x="232" y="123"/>
                    </a:cubicBezTo>
                    <a:cubicBezTo>
                      <a:pt x="232" y="123"/>
                      <a:pt x="241" y="118"/>
                      <a:pt x="243" y="116"/>
                    </a:cubicBezTo>
                    <a:cubicBezTo>
                      <a:pt x="245" y="114"/>
                      <a:pt x="246" y="109"/>
                      <a:pt x="246" y="109"/>
                    </a:cubicBezTo>
                    <a:cubicBezTo>
                      <a:pt x="246" y="109"/>
                      <a:pt x="251" y="114"/>
                      <a:pt x="258" y="111"/>
                    </a:cubicBezTo>
                    <a:cubicBezTo>
                      <a:pt x="263" y="109"/>
                      <a:pt x="276" y="100"/>
                      <a:pt x="276" y="100"/>
                    </a:cubicBezTo>
                    <a:cubicBezTo>
                      <a:pt x="272" y="95"/>
                      <a:pt x="272" y="95"/>
                      <a:pt x="272" y="95"/>
                    </a:cubicBezTo>
                    <a:cubicBezTo>
                      <a:pt x="272" y="95"/>
                      <a:pt x="277" y="97"/>
                      <a:pt x="280" y="94"/>
                    </a:cubicBezTo>
                    <a:cubicBezTo>
                      <a:pt x="284" y="90"/>
                      <a:pt x="278" y="72"/>
                      <a:pt x="291" y="72"/>
                    </a:cubicBezTo>
                    <a:cubicBezTo>
                      <a:pt x="303" y="72"/>
                      <a:pt x="312" y="69"/>
                      <a:pt x="312" y="69"/>
                    </a:cubicBezTo>
                    <a:cubicBezTo>
                      <a:pt x="312" y="69"/>
                      <a:pt x="313" y="75"/>
                      <a:pt x="317" y="75"/>
                    </a:cubicBezTo>
                    <a:cubicBezTo>
                      <a:pt x="322" y="75"/>
                      <a:pt x="329" y="76"/>
                      <a:pt x="331" y="74"/>
                    </a:cubicBezTo>
                    <a:cubicBezTo>
                      <a:pt x="334" y="72"/>
                      <a:pt x="333" y="66"/>
                      <a:pt x="336" y="66"/>
                    </a:cubicBezTo>
                    <a:cubicBezTo>
                      <a:pt x="339" y="66"/>
                      <a:pt x="348" y="75"/>
                      <a:pt x="356" y="68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4" name="Türkei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5946297" y="4096081"/>
                <a:ext cx="2886884" cy="1615938"/>
              </a:xfrm>
              <a:custGeom>
                <a:avLst/>
                <a:gdLst/>
                <a:ahLst/>
                <a:cxnLst>
                  <a:cxn ang="0">
                    <a:pos x="24" y="340"/>
                  </a:cxn>
                  <a:cxn ang="0">
                    <a:pos x="49" y="328"/>
                  </a:cxn>
                  <a:cxn ang="0">
                    <a:pos x="102" y="283"/>
                  </a:cxn>
                  <a:cxn ang="0">
                    <a:pos x="135" y="275"/>
                  </a:cxn>
                  <a:cxn ang="0">
                    <a:pos x="103" y="241"/>
                  </a:cxn>
                  <a:cxn ang="0">
                    <a:pos x="87" y="218"/>
                  </a:cxn>
                  <a:cxn ang="0">
                    <a:pos x="55" y="215"/>
                  </a:cxn>
                  <a:cxn ang="0">
                    <a:pos x="24" y="241"/>
                  </a:cxn>
                  <a:cxn ang="0">
                    <a:pos x="29" y="264"/>
                  </a:cxn>
                  <a:cxn ang="0">
                    <a:pos x="25" y="300"/>
                  </a:cxn>
                  <a:cxn ang="0">
                    <a:pos x="41" y="327"/>
                  </a:cxn>
                  <a:cxn ang="0">
                    <a:pos x="15" y="353"/>
                  </a:cxn>
                  <a:cxn ang="0">
                    <a:pos x="973" y="186"/>
                  </a:cxn>
                  <a:cxn ang="0">
                    <a:pos x="946" y="128"/>
                  </a:cxn>
                  <a:cxn ang="0">
                    <a:pos x="942" y="68"/>
                  </a:cxn>
                  <a:cxn ang="0">
                    <a:pos x="843" y="17"/>
                  </a:cxn>
                  <a:cxn ang="0">
                    <a:pos x="789" y="14"/>
                  </a:cxn>
                  <a:cxn ang="0">
                    <a:pos x="720" y="63"/>
                  </a:cxn>
                  <a:cxn ang="0">
                    <a:pos x="587" y="131"/>
                  </a:cxn>
                  <a:cxn ang="0">
                    <a:pos x="517" y="129"/>
                  </a:cxn>
                  <a:cxn ang="0">
                    <a:pos x="448" y="131"/>
                  </a:cxn>
                  <a:cxn ang="0">
                    <a:pos x="373" y="138"/>
                  </a:cxn>
                  <a:cxn ang="0">
                    <a:pos x="276" y="207"/>
                  </a:cxn>
                  <a:cxn ang="0">
                    <a:pos x="218" y="236"/>
                  </a:cxn>
                  <a:cxn ang="0">
                    <a:pos x="157" y="262"/>
                  </a:cxn>
                  <a:cxn ang="0">
                    <a:pos x="198" y="277"/>
                  </a:cxn>
                  <a:cxn ang="0">
                    <a:pos x="151" y="303"/>
                  </a:cxn>
                  <a:cxn ang="0">
                    <a:pos x="151" y="310"/>
                  </a:cxn>
                  <a:cxn ang="0">
                    <a:pos x="97" y="314"/>
                  </a:cxn>
                  <a:cxn ang="0">
                    <a:pos x="80" y="321"/>
                  </a:cxn>
                  <a:cxn ang="0">
                    <a:pos x="37" y="357"/>
                  </a:cxn>
                  <a:cxn ang="0">
                    <a:pos x="26" y="399"/>
                  </a:cxn>
                  <a:cxn ang="0">
                    <a:pos x="66" y="411"/>
                  </a:cxn>
                  <a:cxn ang="0">
                    <a:pos x="73" y="446"/>
                  </a:cxn>
                  <a:cxn ang="0">
                    <a:pos x="79" y="459"/>
                  </a:cxn>
                  <a:cxn ang="0">
                    <a:pos x="69" y="453"/>
                  </a:cxn>
                  <a:cxn ang="0">
                    <a:pos x="71" y="478"/>
                  </a:cxn>
                  <a:cxn ang="0">
                    <a:pos x="107" y="496"/>
                  </a:cxn>
                  <a:cxn ang="0">
                    <a:pos x="110" y="510"/>
                  </a:cxn>
                  <a:cxn ang="0">
                    <a:pos x="130" y="524"/>
                  </a:cxn>
                  <a:cxn ang="0">
                    <a:pos x="128" y="540"/>
                  </a:cxn>
                  <a:cxn ang="0">
                    <a:pos x="150" y="548"/>
                  </a:cxn>
                  <a:cxn ang="0">
                    <a:pos x="147" y="554"/>
                  </a:cxn>
                  <a:cxn ang="0">
                    <a:pos x="162" y="556"/>
                  </a:cxn>
                  <a:cxn ang="0">
                    <a:pos x="175" y="543"/>
                  </a:cxn>
                  <a:cxn ang="0">
                    <a:pos x="208" y="545"/>
                  </a:cxn>
                  <a:cxn ang="0">
                    <a:pos x="221" y="551"/>
                  </a:cxn>
                  <a:cxn ang="0">
                    <a:pos x="241" y="560"/>
                  </a:cxn>
                  <a:cxn ang="0">
                    <a:pos x="315" y="546"/>
                  </a:cxn>
                  <a:cxn ang="0">
                    <a:pos x="391" y="513"/>
                  </a:cxn>
                  <a:cxn ang="0">
                    <a:pos x="563" y="456"/>
                  </a:cxn>
                  <a:cxn ang="0">
                    <a:pos x="606" y="438"/>
                  </a:cxn>
                  <a:cxn ang="0">
                    <a:pos x="631" y="472"/>
                  </a:cxn>
                  <a:cxn ang="0">
                    <a:pos x="645" y="413"/>
                  </a:cxn>
                  <a:cxn ang="0">
                    <a:pos x="707" y="377"/>
                  </a:cxn>
                  <a:cxn ang="0">
                    <a:pos x="865" y="297"/>
                  </a:cxn>
                  <a:cxn ang="0">
                    <a:pos x="910" y="253"/>
                  </a:cxn>
                  <a:cxn ang="0">
                    <a:pos x="975" y="238"/>
                  </a:cxn>
                  <a:cxn ang="0">
                    <a:pos x="1020" y="222"/>
                  </a:cxn>
                </a:cxnLst>
                <a:rect l="0" t="0" r="r" b="b"/>
                <a:pathLst>
                  <a:path w="1022" h="573">
                    <a:moveTo>
                      <a:pt x="91" y="305"/>
                    </a:moveTo>
                    <a:cubicBezTo>
                      <a:pt x="82" y="306"/>
                      <a:pt x="85" y="312"/>
                      <a:pt x="91" y="310"/>
                    </a:cubicBezTo>
                    <a:cubicBezTo>
                      <a:pt x="100" y="308"/>
                      <a:pt x="101" y="304"/>
                      <a:pt x="91" y="305"/>
                    </a:cubicBezTo>
                    <a:close/>
                    <a:moveTo>
                      <a:pt x="41" y="327"/>
                    </a:moveTo>
                    <a:cubicBezTo>
                      <a:pt x="24" y="340"/>
                      <a:pt x="24" y="340"/>
                      <a:pt x="24" y="340"/>
                    </a:cubicBezTo>
                    <a:cubicBezTo>
                      <a:pt x="30" y="347"/>
                      <a:pt x="30" y="347"/>
                      <a:pt x="30" y="347"/>
                    </a:cubicBezTo>
                    <a:cubicBezTo>
                      <a:pt x="26" y="360"/>
                      <a:pt x="26" y="360"/>
                      <a:pt x="26" y="360"/>
                    </a:cubicBezTo>
                    <a:cubicBezTo>
                      <a:pt x="33" y="355"/>
                      <a:pt x="33" y="355"/>
                      <a:pt x="33" y="355"/>
                    </a:cubicBezTo>
                    <a:cubicBezTo>
                      <a:pt x="35" y="347"/>
                      <a:pt x="35" y="347"/>
                      <a:pt x="35" y="347"/>
                    </a:cubicBezTo>
                    <a:cubicBezTo>
                      <a:pt x="49" y="328"/>
                      <a:pt x="49" y="328"/>
                      <a:pt x="49" y="328"/>
                    </a:cubicBezTo>
                    <a:cubicBezTo>
                      <a:pt x="64" y="318"/>
                      <a:pt x="64" y="318"/>
                      <a:pt x="64" y="318"/>
                    </a:cubicBezTo>
                    <a:cubicBezTo>
                      <a:pt x="77" y="302"/>
                      <a:pt x="77" y="302"/>
                      <a:pt x="77" y="302"/>
                    </a:cubicBezTo>
                    <a:cubicBezTo>
                      <a:pt x="77" y="302"/>
                      <a:pt x="79" y="294"/>
                      <a:pt x="80" y="290"/>
                    </a:cubicBezTo>
                    <a:cubicBezTo>
                      <a:pt x="81" y="287"/>
                      <a:pt x="93" y="283"/>
                      <a:pt x="93" y="283"/>
                    </a:cubicBezTo>
                    <a:cubicBezTo>
                      <a:pt x="93" y="283"/>
                      <a:pt x="100" y="284"/>
                      <a:pt x="102" y="283"/>
                    </a:cubicBezTo>
                    <a:cubicBezTo>
                      <a:pt x="105" y="283"/>
                      <a:pt x="106" y="275"/>
                      <a:pt x="113" y="274"/>
                    </a:cubicBezTo>
                    <a:cubicBezTo>
                      <a:pt x="120" y="273"/>
                      <a:pt x="132" y="274"/>
                      <a:pt x="132" y="274"/>
                    </a:cubicBezTo>
                    <a:cubicBezTo>
                      <a:pt x="132" y="270"/>
                      <a:pt x="132" y="270"/>
                      <a:pt x="132" y="270"/>
                    </a:cubicBezTo>
                    <a:cubicBezTo>
                      <a:pt x="135" y="270"/>
                      <a:pt x="135" y="270"/>
                      <a:pt x="135" y="270"/>
                    </a:cubicBezTo>
                    <a:cubicBezTo>
                      <a:pt x="135" y="275"/>
                      <a:pt x="135" y="275"/>
                      <a:pt x="135" y="275"/>
                    </a:cubicBezTo>
                    <a:cubicBezTo>
                      <a:pt x="135" y="275"/>
                      <a:pt x="140" y="275"/>
                      <a:pt x="149" y="272"/>
                    </a:cubicBezTo>
                    <a:cubicBezTo>
                      <a:pt x="157" y="268"/>
                      <a:pt x="153" y="258"/>
                      <a:pt x="153" y="258"/>
                    </a:cubicBezTo>
                    <a:cubicBezTo>
                      <a:pt x="155" y="253"/>
                      <a:pt x="155" y="253"/>
                      <a:pt x="155" y="253"/>
                    </a:cubicBezTo>
                    <a:cubicBezTo>
                      <a:pt x="155" y="253"/>
                      <a:pt x="143" y="253"/>
                      <a:pt x="133" y="251"/>
                    </a:cubicBezTo>
                    <a:cubicBezTo>
                      <a:pt x="123" y="250"/>
                      <a:pt x="112" y="246"/>
                      <a:pt x="103" y="241"/>
                    </a:cubicBezTo>
                    <a:cubicBezTo>
                      <a:pt x="95" y="237"/>
                      <a:pt x="101" y="233"/>
                      <a:pt x="100" y="229"/>
                    </a:cubicBezTo>
                    <a:cubicBezTo>
                      <a:pt x="99" y="226"/>
                      <a:pt x="93" y="223"/>
                      <a:pt x="93" y="223"/>
                    </a:cubicBezTo>
                    <a:cubicBezTo>
                      <a:pt x="96" y="221"/>
                      <a:pt x="96" y="221"/>
                      <a:pt x="96" y="221"/>
                    </a:cubicBezTo>
                    <a:cubicBezTo>
                      <a:pt x="93" y="215"/>
                      <a:pt x="93" y="215"/>
                      <a:pt x="93" y="215"/>
                    </a:cubicBezTo>
                    <a:cubicBezTo>
                      <a:pt x="87" y="218"/>
                      <a:pt x="87" y="218"/>
                      <a:pt x="87" y="218"/>
                    </a:cubicBezTo>
                    <a:cubicBezTo>
                      <a:pt x="84" y="218"/>
                      <a:pt x="84" y="218"/>
                      <a:pt x="84" y="218"/>
                    </a:cubicBezTo>
                    <a:cubicBezTo>
                      <a:pt x="84" y="223"/>
                      <a:pt x="84" y="223"/>
                      <a:pt x="84" y="223"/>
                    </a:cubicBezTo>
                    <a:cubicBezTo>
                      <a:pt x="77" y="220"/>
                      <a:pt x="77" y="220"/>
                      <a:pt x="77" y="220"/>
                    </a:cubicBezTo>
                    <a:cubicBezTo>
                      <a:pt x="77" y="220"/>
                      <a:pt x="72" y="224"/>
                      <a:pt x="67" y="224"/>
                    </a:cubicBezTo>
                    <a:cubicBezTo>
                      <a:pt x="63" y="223"/>
                      <a:pt x="58" y="217"/>
                      <a:pt x="55" y="215"/>
                    </a:cubicBezTo>
                    <a:cubicBezTo>
                      <a:pt x="51" y="215"/>
                      <a:pt x="49" y="221"/>
                      <a:pt x="49" y="221"/>
                    </a:cubicBezTo>
                    <a:cubicBezTo>
                      <a:pt x="49" y="221"/>
                      <a:pt x="48" y="218"/>
                      <a:pt x="46" y="219"/>
                    </a:cubicBezTo>
                    <a:cubicBezTo>
                      <a:pt x="44" y="221"/>
                      <a:pt x="44" y="224"/>
                      <a:pt x="38" y="228"/>
                    </a:cubicBezTo>
                    <a:cubicBezTo>
                      <a:pt x="34" y="233"/>
                      <a:pt x="28" y="229"/>
                      <a:pt x="23" y="230"/>
                    </a:cubicBezTo>
                    <a:cubicBezTo>
                      <a:pt x="20" y="233"/>
                      <a:pt x="25" y="237"/>
                      <a:pt x="24" y="241"/>
                    </a:cubicBezTo>
                    <a:cubicBezTo>
                      <a:pt x="22" y="244"/>
                      <a:pt x="17" y="241"/>
                      <a:pt x="15" y="243"/>
                    </a:cubicBezTo>
                    <a:cubicBezTo>
                      <a:pt x="12" y="245"/>
                      <a:pt x="14" y="250"/>
                      <a:pt x="14" y="250"/>
                    </a:cubicBezTo>
                    <a:cubicBezTo>
                      <a:pt x="21" y="252"/>
                      <a:pt x="21" y="252"/>
                      <a:pt x="21" y="252"/>
                    </a:cubicBezTo>
                    <a:cubicBezTo>
                      <a:pt x="28" y="255"/>
                      <a:pt x="28" y="255"/>
                      <a:pt x="28" y="255"/>
                    </a:cubicBezTo>
                    <a:cubicBezTo>
                      <a:pt x="28" y="255"/>
                      <a:pt x="28" y="261"/>
                      <a:pt x="29" y="264"/>
                    </a:cubicBezTo>
                    <a:cubicBezTo>
                      <a:pt x="30" y="266"/>
                      <a:pt x="36" y="271"/>
                      <a:pt x="34" y="273"/>
                    </a:cubicBezTo>
                    <a:cubicBezTo>
                      <a:pt x="32" y="275"/>
                      <a:pt x="26" y="274"/>
                      <a:pt x="26" y="274"/>
                    </a:cubicBezTo>
                    <a:cubicBezTo>
                      <a:pt x="19" y="281"/>
                      <a:pt x="19" y="281"/>
                      <a:pt x="19" y="281"/>
                    </a:cubicBezTo>
                    <a:cubicBezTo>
                      <a:pt x="20" y="290"/>
                      <a:pt x="20" y="290"/>
                      <a:pt x="20" y="290"/>
                    </a:cubicBezTo>
                    <a:cubicBezTo>
                      <a:pt x="20" y="290"/>
                      <a:pt x="28" y="296"/>
                      <a:pt x="25" y="300"/>
                    </a:cubicBezTo>
                    <a:cubicBezTo>
                      <a:pt x="23" y="305"/>
                      <a:pt x="13" y="316"/>
                      <a:pt x="13" y="316"/>
                    </a:cubicBezTo>
                    <a:cubicBezTo>
                      <a:pt x="13" y="316"/>
                      <a:pt x="14" y="322"/>
                      <a:pt x="18" y="324"/>
                    </a:cubicBezTo>
                    <a:cubicBezTo>
                      <a:pt x="22" y="328"/>
                      <a:pt x="39" y="320"/>
                      <a:pt x="39" y="320"/>
                    </a:cubicBezTo>
                    <a:cubicBezTo>
                      <a:pt x="39" y="320"/>
                      <a:pt x="50" y="314"/>
                      <a:pt x="52" y="318"/>
                    </a:cubicBezTo>
                    <a:cubicBezTo>
                      <a:pt x="53" y="321"/>
                      <a:pt x="41" y="327"/>
                      <a:pt x="41" y="327"/>
                    </a:cubicBezTo>
                    <a:close/>
                    <a:moveTo>
                      <a:pt x="13" y="350"/>
                    </a:moveTo>
                    <a:cubicBezTo>
                      <a:pt x="13" y="350"/>
                      <a:pt x="0" y="354"/>
                      <a:pt x="0" y="361"/>
                    </a:cubicBezTo>
                    <a:cubicBezTo>
                      <a:pt x="0" y="361"/>
                      <a:pt x="2" y="364"/>
                      <a:pt x="8" y="361"/>
                    </a:cubicBezTo>
                    <a:cubicBezTo>
                      <a:pt x="15" y="357"/>
                      <a:pt x="18" y="355"/>
                      <a:pt x="18" y="355"/>
                    </a:cubicBezTo>
                    <a:cubicBezTo>
                      <a:pt x="15" y="353"/>
                      <a:pt x="15" y="353"/>
                      <a:pt x="15" y="353"/>
                    </a:cubicBezTo>
                    <a:lnTo>
                      <a:pt x="13" y="350"/>
                    </a:lnTo>
                    <a:close/>
                    <a:moveTo>
                      <a:pt x="1019" y="210"/>
                    </a:moveTo>
                    <a:cubicBezTo>
                      <a:pt x="1015" y="206"/>
                      <a:pt x="1013" y="209"/>
                      <a:pt x="1004" y="209"/>
                    </a:cubicBezTo>
                    <a:cubicBezTo>
                      <a:pt x="997" y="209"/>
                      <a:pt x="1003" y="198"/>
                      <a:pt x="996" y="191"/>
                    </a:cubicBezTo>
                    <a:cubicBezTo>
                      <a:pt x="988" y="182"/>
                      <a:pt x="973" y="186"/>
                      <a:pt x="973" y="186"/>
                    </a:cubicBezTo>
                    <a:cubicBezTo>
                      <a:pt x="971" y="155"/>
                      <a:pt x="971" y="155"/>
                      <a:pt x="971" y="155"/>
                    </a:cubicBezTo>
                    <a:cubicBezTo>
                      <a:pt x="963" y="159"/>
                      <a:pt x="963" y="159"/>
                      <a:pt x="963" y="159"/>
                    </a:cubicBezTo>
                    <a:cubicBezTo>
                      <a:pt x="963" y="159"/>
                      <a:pt x="964" y="150"/>
                      <a:pt x="959" y="146"/>
                    </a:cubicBezTo>
                    <a:cubicBezTo>
                      <a:pt x="955" y="141"/>
                      <a:pt x="950" y="138"/>
                      <a:pt x="950" y="138"/>
                    </a:cubicBezTo>
                    <a:cubicBezTo>
                      <a:pt x="946" y="128"/>
                      <a:pt x="946" y="128"/>
                      <a:pt x="946" y="128"/>
                    </a:cubicBezTo>
                    <a:cubicBezTo>
                      <a:pt x="938" y="128"/>
                      <a:pt x="938" y="128"/>
                      <a:pt x="938" y="128"/>
                    </a:cubicBezTo>
                    <a:cubicBezTo>
                      <a:pt x="938" y="128"/>
                      <a:pt x="920" y="108"/>
                      <a:pt x="919" y="104"/>
                    </a:cubicBezTo>
                    <a:cubicBezTo>
                      <a:pt x="919" y="100"/>
                      <a:pt x="929" y="98"/>
                      <a:pt x="934" y="95"/>
                    </a:cubicBezTo>
                    <a:cubicBezTo>
                      <a:pt x="938" y="92"/>
                      <a:pt x="932" y="82"/>
                      <a:pt x="930" y="75"/>
                    </a:cubicBezTo>
                    <a:cubicBezTo>
                      <a:pt x="927" y="68"/>
                      <a:pt x="942" y="68"/>
                      <a:pt x="942" y="68"/>
                    </a:cubicBezTo>
                    <a:cubicBezTo>
                      <a:pt x="942" y="68"/>
                      <a:pt x="934" y="61"/>
                      <a:pt x="922" y="59"/>
                    </a:cubicBezTo>
                    <a:cubicBezTo>
                      <a:pt x="910" y="55"/>
                      <a:pt x="906" y="62"/>
                      <a:pt x="898" y="68"/>
                    </a:cubicBezTo>
                    <a:cubicBezTo>
                      <a:pt x="890" y="73"/>
                      <a:pt x="882" y="68"/>
                      <a:pt x="871" y="59"/>
                    </a:cubicBezTo>
                    <a:cubicBezTo>
                      <a:pt x="861" y="49"/>
                      <a:pt x="864" y="36"/>
                      <a:pt x="861" y="25"/>
                    </a:cubicBezTo>
                    <a:cubicBezTo>
                      <a:pt x="858" y="16"/>
                      <a:pt x="849" y="17"/>
                      <a:pt x="843" y="17"/>
                    </a:cubicBezTo>
                    <a:cubicBezTo>
                      <a:pt x="838" y="17"/>
                      <a:pt x="841" y="8"/>
                      <a:pt x="838" y="8"/>
                    </a:cubicBezTo>
                    <a:cubicBezTo>
                      <a:pt x="834" y="8"/>
                      <a:pt x="829" y="14"/>
                      <a:pt x="829" y="14"/>
                    </a:cubicBezTo>
                    <a:cubicBezTo>
                      <a:pt x="803" y="4"/>
                      <a:pt x="803" y="4"/>
                      <a:pt x="803" y="4"/>
                    </a:cubicBezTo>
                    <a:cubicBezTo>
                      <a:pt x="803" y="4"/>
                      <a:pt x="799" y="0"/>
                      <a:pt x="792" y="0"/>
                    </a:cubicBezTo>
                    <a:cubicBezTo>
                      <a:pt x="787" y="0"/>
                      <a:pt x="789" y="14"/>
                      <a:pt x="789" y="14"/>
                    </a:cubicBezTo>
                    <a:cubicBezTo>
                      <a:pt x="789" y="14"/>
                      <a:pt x="781" y="15"/>
                      <a:pt x="773" y="16"/>
                    </a:cubicBezTo>
                    <a:cubicBezTo>
                      <a:pt x="766" y="17"/>
                      <a:pt x="757" y="28"/>
                      <a:pt x="757" y="28"/>
                    </a:cubicBezTo>
                    <a:cubicBezTo>
                      <a:pt x="741" y="30"/>
                      <a:pt x="741" y="30"/>
                      <a:pt x="741" y="30"/>
                    </a:cubicBezTo>
                    <a:cubicBezTo>
                      <a:pt x="726" y="59"/>
                      <a:pt x="726" y="59"/>
                      <a:pt x="726" y="59"/>
                    </a:cubicBezTo>
                    <a:cubicBezTo>
                      <a:pt x="720" y="63"/>
                      <a:pt x="720" y="63"/>
                      <a:pt x="720" y="63"/>
                    </a:cubicBezTo>
                    <a:cubicBezTo>
                      <a:pt x="720" y="63"/>
                      <a:pt x="721" y="69"/>
                      <a:pt x="703" y="85"/>
                    </a:cubicBezTo>
                    <a:cubicBezTo>
                      <a:pt x="685" y="101"/>
                      <a:pt x="665" y="99"/>
                      <a:pt x="665" y="99"/>
                    </a:cubicBezTo>
                    <a:cubicBezTo>
                      <a:pt x="665" y="99"/>
                      <a:pt x="662" y="95"/>
                      <a:pt x="651" y="98"/>
                    </a:cubicBezTo>
                    <a:cubicBezTo>
                      <a:pt x="640" y="101"/>
                      <a:pt x="624" y="118"/>
                      <a:pt x="614" y="126"/>
                    </a:cubicBezTo>
                    <a:cubicBezTo>
                      <a:pt x="604" y="132"/>
                      <a:pt x="587" y="131"/>
                      <a:pt x="587" y="131"/>
                    </a:cubicBezTo>
                    <a:cubicBezTo>
                      <a:pt x="578" y="126"/>
                      <a:pt x="578" y="126"/>
                      <a:pt x="578" y="126"/>
                    </a:cubicBezTo>
                    <a:cubicBezTo>
                      <a:pt x="569" y="125"/>
                      <a:pt x="569" y="125"/>
                      <a:pt x="569" y="125"/>
                    </a:cubicBezTo>
                    <a:cubicBezTo>
                      <a:pt x="564" y="138"/>
                      <a:pt x="564" y="138"/>
                      <a:pt x="564" y="138"/>
                    </a:cubicBezTo>
                    <a:cubicBezTo>
                      <a:pt x="564" y="138"/>
                      <a:pt x="542" y="133"/>
                      <a:pt x="539" y="130"/>
                    </a:cubicBezTo>
                    <a:cubicBezTo>
                      <a:pt x="534" y="127"/>
                      <a:pt x="517" y="129"/>
                      <a:pt x="517" y="129"/>
                    </a:cubicBezTo>
                    <a:cubicBezTo>
                      <a:pt x="517" y="129"/>
                      <a:pt x="522" y="142"/>
                      <a:pt x="515" y="145"/>
                    </a:cubicBezTo>
                    <a:cubicBezTo>
                      <a:pt x="509" y="148"/>
                      <a:pt x="490" y="136"/>
                      <a:pt x="490" y="136"/>
                    </a:cubicBezTo>
                    <a:cubicBezTo>
                      <a:pt x="490" y="123"/>
                      <a:pt x="490" y="123"/>
                      <a:pt x="490" y="123"/>
                    </a:cubicBezTo>
                    <a:cubicBezTo>
                      <a:pt x="477" y="118"/>
                      <a:pt x="477" y="118"/>
                      <a:pt x="477" y="118"/>
                    </a:cubicBezTo>
                    <a:cubicBezTo>
                      <a:pt x="477" y="118"/>
                      <a:pt x="467" y="134"/>
                      <a:pt x="448" y="131"/>
                    </a:cubicBezTo>
                    <a:cubicBezTo>
                      <a:pt x="428" y="129"/>
                      <a:pt x="434" y="111"/>
                      <a:pt x="434" y="111"/>
                    </a:cubicBezTo>
                    <a:cubicBezTo>
                      <a:pt x="423" y="113"/>
                      <a:pt x="423" y="113"/>
                      <a:pt x="423" y="113"/>
                    </a:cubicBezTo>
                    <a:cubicBezTo>
                      <a:pt x="423" y="113"/>
                      <a:pt x="421" y="117"/>
                      <a:pt x="419" y="122"/>
                    </a:cubicBezTo>
                    <a:cubicBezTo>
                      <a:pt x="417" y="126"/>
                      <a:pt x="403" y="131"/>
                      <a:pt x="395" y="130"/>
                    </a:cubicBezTo>
                    <a:cubicBezTo>
                      <a:pt x="386" y="128"/>
                      <a:pt x="381" y="134"/>
                      <a:pt x="373" y="138"/>
                    </a:cubicBezTo>
                    <a:cubicBezTo>
                      <a:pt x="364" y="142"/>
                      <a:pt x="348" y="143"/>
                      <a:pt x="348" y="143"/>
                    </a:cubicBezTo>
                    <a:cubicBezTo>
                      <a:pt x="326" y="159"/>
                      <a:pt x="326" y="159"/>
                      <a:pt x="326" y="159"/>
                    </a:cubicBezTo>
                    <a:cubicBezTo>
                      <a:pt x="300" y="178"/>
                      <a:pt x="300" y="178"/>
                      <a:pt x="300" y="178"/>
                    </a:cubicBezTo>
                    <a:cubicBezTo>
                      <a:pt x="300" y="186"/>
                      <a:pt x="300" y="186"/>
                      <a:pt x="300" y="186"/>
                    </a:cubicBezTo>
                    <a:cubicBezTo>
                      <a:pt x="276" y="207"/>
                      <a:pt x="276" y="207"/>
                      <a:pt x="276" y="207"/>
                    </a:cubicBezTo>
                    <a:cubicBezTo>
                      <a:pt x="269" y="213"/>
                      <a:pt x="269" y="213"/>
                      <a:pt x="269" y="213"/>
                    </a:cubicBezTo>
                    <a:cubicBezTo>
                      <a:pt x="269" y="213"/>
                      <a:pt x="271" y="222"/>
                      <a:pt x="264" y="230"/>
                    </a:cubicBezTo>
                    <a:cubicBezTo>
                      <a:pt x="255" y="239"/>
                      <a:pt x="239" y="238"/>
                      <a:pt x="239" y="238"/>
                    </a:cubicBezTo>
                    <a:cubicBezTo>
                      <a:pt x="220" y="240"/>
                      <a:pt x="220" y="240"/>
                      <a:pt x="220" y="240"/>
                    </a:cubicBezTo>
                    <a:cubicBezTo>
                      <a:pt x="218" y="236"/>
                      <a:pt x="218" y="236"/>
                      <a:pt x="218" y="236"/>
                    </a:cubicBezTo>
                    <a:cubicBezTo>
                      <a:pt x="206" y="245"/>
                      <a:pt x="206" y="245"/>
                      <a:pt x="206" y="245"/>
                    </a:cubicBezTo>
                    <a:cubicBezTo>
                      <a:pt x="197" y="245"/>
                      <a:pt x="197" y="245"/>
                      <a:pt x="197" y="245"/>
                    </a:cubicBezTo>
                    <a:cubicBezTo>
                      <a:pt x="194" y="247"/>
                      <a:pt x="187" y="251"/>
                      <a:pt x="184" y="252"/>
                    </a:cubicBezTo>
                    <a:cubicBezTo>
                      <a:pt x="180" y="253"/>
                      <a:pt x="166" y="251"/>
                      <a:pt x="161" y="253"/>
                    </a:cubicBezTo>
                    <a:cubicBezTo>
                      <a:pt x="154" y="255"/>
                      <a:pt x="157" y="262"/>
                      <a:pt x="157" y="262"/>
                    </a:cubicBezTo>
                    <a:cubicBezTo>
                      <a:pt x="157" y="262"/>
                      <a:pt x="156" y="266"/>
                      <a:pt x="155" y="270"/>
                    </a:cubicBezTo>
                    <a:cubicBezTo>
                      <a:pt x="155" y="273"/>
                      <a:pt x="171" y="275"/>
                      <a:pt x="171" y="275"/>
                    </a:cubicBezTo>
                    <a:cubicBezTo>
                      <a:pt x="170" y="278"/>
                      <a:pt x="170" y="278"/>
                      <a:pt x="170" y="278"/>
                    </a:cubicBezTo>
                    <a:cubicBezTo>
                      <a:pt x="177" y="280"/>
                      <a:pt x="177" y="280"/>
                      <a:pt x="177" y="280"/>
                    </a:cubicBezTo>
                    <a:cubicBezTo>
                      <a:pt x="177" y="280"/>
                      <a:pt x="197" y="275"/>
                      <a:pt x="198" y="277"/>
                    </a:cubicBezTo>
                    <a:cubicBezTo>
                      <a:pt x="198" y="280"/>
                      <a:pt x="186" y="283"/>
                      <a:pt x="186" y="283"/>
                    </a:cubicBezTo>
                    <a:cubicBezTo>
                      <a:pt x="183" y="282"/>
                      <a:pt x="183" y="282"/>
                      <a:pt x="183" y="282"/>
                    </a:cubicBezTo>
                    <a:cubicBezTo>
                      <a:pt x="173" y="287"/>
                      <a:pt x="173" y="287"/>
                      <a:pt x="173" y="287"/>
                    </a:cubicBezTo>
                    <a:cubicBezTo>
                      <a:pt x="156" y="291"/>
                      <a:pt x="156" y="291"/>
                      <a:pt x="156" y="291"/>
                    </a:cubicBezTo>
                    <a:cubicBezTo>
                      <a:pt x="151" y="303"/>
                      <a:pt x="151" y="303"/>
                      <a:pt x="151" y="303"/>
                    </a:cubicBezTo>
                    <a:cubicBezTo>
                      <a:pt x="156" y="305"/>
                      <a:pt x="156" y="305"/>
                      <a:pt x="156" y="305"/>
                    </a:cubicBezTo>
                    <a:cubicBezTo>
                      <a:pt x="156" y="305"/>
                      <a:pt x="161" y="303"/>
                      <a:pt x="165" y="303"/>
                    </a:cubicBezTo>
                    <a:cubicBezTo>
                      <a:pt x="171" y="303"/>
                      <a:pt x="171" y="303"/>
                      <a:pt x="171" y="303"/>
                    </a:cubicBezTo>
                    <a:cubicBezTo>
                      <a:pt x="171" y="303"/>
                      <a:pt x="168" y="306"/>
                      <a:pt x="165" y="309"/>
                    </a:cubicBezTo>
                    <a:cubicBezTo>
                      <a:pt x="162" y="312"/>
                      <a:pt x="151" y="310"/>
                      <a:pt x="151" y="310"/>
                    </a:cubicBezTo>
                    <a:cubicBezTo>
                      <a:pt x="144" y="314"/>
                      <a:pt x="144" y="314"/>
                      <a:pt x="144" y="314"/>
                    </a:cubicBezTo>
                    <a:cubicBezTo>
                      <a:pt x="136" y="313"/>
                      <a:pt x="136" y="313"/>
                      <a:pt x="136" y="313"/>
                    </a:cubicBezTo>
                    <a:cubicBezTo>
                      <a:pt x="110" y="318"/>
                      <a:pt x="110" y="318"/>
                      <a:pt x="110" y="318"/>
                    </a:cubicBezTo>
                    <a:cubicBezTo>
                      <a:pt x="114" y="312"/>
                      <a:pt x="114" y="312"/>
                      <a:pt x="114" y="312"/>
                    </a:cubicBezTo>
                    <a:cubicBezTo>
                      <a:pt x="97" y="314"/>
                      <a:pt x="97" y="314"/>
                      <a:pt x="97" y="314"/>
                    </a:cubicBezTo>
                    <a:cubicBezTo>
                      <a:pt x="97" y="317"/>
                      <a:pt x="97" y="317"/>
                      <a:pt x="97" y="317"/>
                    </a:cubicBezTo>
                    <a:cubicBezTo>
                      <a:pt x="106" y="322"/>
                      <a:pt x="106" y="322"/>
                      <a:pt x="106" y="322"/>
                    </a:cubicBezTo>
                    <a:cubicBezTo>
                      <a:pt x="106" y="322"/>
                      <a:pt x="102" y="327"/>
                      <a:pt x="96" y="328"/>
                    </a:cubicBezTo>
                    <a:cubicBezTo>
                      <a:pt x="80" y="328"/>
                      <a:pt x="80" y="328"/>
                      <a:pt x="80" y="328"/>
                    </a:cubicBezTo>
                    <a:cubicBezTo>
                      <a:pt x="80" y="321"/>
                      <a:pt x="80" y="321"/>
                      <a:pt x="80" y="321"/>
                    </a:cubicBezTo>
                    <a:cubicBezTo>
                      <a:pt x="69" y="324"/>
                      <a:pt x="69" y="324"/>
                      <a:pt x="69" y="324"/>
                    </a:cubicBezTo>
                    <a:cubicBezTo>
                      <a:pt x="69" y="324"/>
                      <a:pt x="67" y="330"/>
                      <a:pt x="63" y="330"/>
                    </a:cubicBezTo>
                    <a:cubicBezTo>
                      <a:pt x="58" y="330"/>
                      <a:pt x="50" y="333"/>
                      <a:pt x="48" y="337"/>
                    </a:cubicBezTo>
                    <a:cubicBezTo>
                      <a:pt x="47" y="341"/>
                      <a:pt x="45" y="346"/>
                      <a:pt x="40" y="348"/>
                    </a:cubicBezTo>
                    <a:cubicBezTo>
                      <a:pt x="35" y="349"/>
                      <a:pt x="38" y="353"/>
                      <a:pt x="37" y="357"/>
                    </a:cubicBezTo>
                    <a:cubicBezTo>
                      <a:pt x="36" y="362"/>
                      <a:pt x="29" y="363"/>
                      <a:pt x="29" y="363"/>
                    </a:cubicBezTo>
                    <a:cubicBezTo>
                      <a:pt x="28" y="368"/>
                      <a:pt x="28" y="368"/>
                      <a:pt x="28" y="368"/>
                    </a:cubicBezTo>
                    <a:cubicBezTo>
                      <a:pt x="29" y="383"/>
                      <a:pt x="29" y="383"/>
                      <a:pt x="29" y="383"/>
                    </a:cubicBezTo>
                    <a:cubicBezTo>
                      <a:pt x="32" y="384"/>
                      <a:pt x="32" y="384"/>
                      <a:pt x="32" y="384"/>
                    </a:cubicBezTo>
                    <a:cubicBezTo>
                      <a:pt x="26" y="399"/>
                      <a:pt x="26" y="399"/>
                      <a:pt x="26" y="399"/>
                    </a:cubicBezTo>
                    <a:cubicBezTo>
                      <a:pt x="51" y="388"/>
                      <a:pt x="51" y="388"/>
                      <a:pt x="51" y="388"/>
                    </a:cubicBezTo>
                    <a:cubicBezTo>
                      <a:pt x="51" y="388"/>
                      <a:pt x="68" y="380"/>
                      <a:pt x="73" y="385"/>
                    </a:cubicBezTo>
                    <a:cubicBezTo>
                      <a:pt x="78" y="391"/>
                      <a:pt x="58" y="404"/>
                      <a:pt x="58" y="404"/>
                    </a:cubicBezTo>
                    <a:cubicBezTo>
                      <a:pt x="65" y="407"/>
                      <a:pt x="65" y="407"/>
                      <a:pt x="65" y="407"/>
                    </a:cubicBezTo>
                    <a:cubicBezTo>
                      <a:pt x="66" y="411"/>
                      <a:pt x="66" y="411"/>
                      <a:pt x="66" y="411"/>
                    </a:cubicBezTo>
                    <a:cubicBezTo>
                      <a:pt x="74" y="413"/>
                      <a:pt x="74" y="413"/>
                      <a:pt x="74" y="413"/>
                    </a:cubicBezTo>
                    <a:cubicBezTo>
                      <a:pt x="74" y="413"/>
                      <a:pt x="71" y="419"/>
                      <a:pt x="72" y="424"/>
                    </a:cubicBezTo>
                    <a:cubicBezTo>
                      <a:pt x="73" y="429"/>
                      <a:pt x="82" y="422"/>
                      <a:pt x="85" y="426"/>
                    </a:cubicBezTo>
                    <a:cubicBezTo>
                      <a:pt x="88" y="430"/>
                      <a:pt x="80" y="434"/>
                      <a:pt x="75" y="436"/>
                    </a:cubicBezTo>
                    <a:cubicBezTo>
                      <a:pt x="71" y="438"/>
                      <a:pt x="72" y="443"/>
                      <a:pt x="73" y="446"/>
                    </a:cubicBezTo>
                    <a:cubicBezTo>
                      <a:pt x="74" y="448"/>
                      <a:pt x="79" y="446"/>
                      <a:pt x="79" y="446"/>
                    </a:cubicBezTo>
                    <a:cubicBezTo>
                      <a:pt x="79" y="450"/>
                      <a:pt x="79" y="450"/>
                      <a:pt x="79" y="450"/>
                    </a:cubicBezTo>
                    <a:cubicBezTo>
                      <a:pt x="85" y="453"/>
                      <a:pt x="85" y="453"/>
                      <a:pt x="85" y="453"/>
                    </a:cubicBezTo>
                    <a:cubicBezTo>
                      <a:pt x="95" y="453"/>
                      <a:pt x="95" y="453"/>
                      <a:pt x="95" y="453"/>
                    </a:cubicBezTo>
                    <a:cubicBezTo>
                      <a:pt x="79" y="459"/>
                      <a:pt x="79" y="459"/>
                      <a:pt x="79" y="459"/>
                    </a:cubicBezTo>
                    <a:cubicBezTo>
                      <a:pt x="74" y="457"/>
                      <a:pt x="74" y="457"/>
                      <a:pt x="74" y="457"/>
                    </a:cubicBezTo>
                    <a:cubicBezTo>
                      <a:pt x="71" y="458"/>
                      <a:pt x="71" y="458"/>
                      <a:pt x="71" y="458"/>
                    </a:cubicBezTo>
                    <a:cubicBezTo>
                      <a:pt x="72" y="463"/>
                      <a:pt x="72" y="463"/>
                      <a:pt x="72" y="463"/>
                    </a:cubicBezTo>
                    <a:cubicBezTo>
                      <a:pt x="67" y="458"/>
                      <a:pt x="67" y="458"/>
                      <a:pt x="67" y="458"/>
                    </a:cubicBezTo>
                    <a:cubicBezTo>
                      <a:pt x="69" y="453"/>
                      <a:pt x="69" y="453"/>
                      <a:pt x="69" y="453"/>
                    </a:cubicBezTo>
                    <a:cubicBezTo>
                      <a:pt x="69" y="453"/>
                      <a:pt x="59" y="444"/>
                      <a:pt x="55" y="445"/>
                    </a:cubicBezTo>
                    <a:cubicBezTo>
                      <a:pt x="50" y="446"/>
                      <a:pt x="56" y="458"/>
                      <a:pt x="56" y="458"/>
                    </a:cubicBezTo>
                    <a:cubicBezTo>
                      <a:pt x="56" y="458"/>
                      <a:pt x="61" y="458"/>
                      <a:pt x="61" y="464"/>
                    </a:cubicBezTo>
                    <a:cubicBezTo>
                      <a:pt x="62" y="471"/>
                      <a:pt x="52" y="471"/>
                      <a:pt x="52" y="471"/>
                    </a:cubicBezTo>
                    <a:cubicBezTo>
                      <a:pt x="71" y="478"/>
                      <a:pt x="71" y="478"/>
                      <a:pt x="71" y="478"/>
                    </a:cubicBezTo>
                    <a:cubicBezTo>
                      <a:pt x="81" y="471"/>
                      <a:pt x="81" y="471"/>
                      <a:pt x="81" y="471"/>
                    </a:cubicBezTo>
                    <a:cubicBezTo>
                      <a:pt x="86" y="481"/>
                      <a:pt x="86" y="481"/>
                      <a:pt x="86" y="481"/>
                    </a:cubicBezTo>
                    <a:cubicBezTo>
                      <a:pt x="91" y="478"/>
                      <a:pt x="91" y="478"/>
                      <a:pt x="91" y="478"/>
                    </a:cubicBezTo>
                    <a:cubicBezTo>
                      <a:pt x="91" y="478"/>
                      <a:pt x="101" y="478"/>
                      <a:pt x="108" y="480"/>
                    </a:cubicBezTo>
                    <a:cubicBezTo>
                      <a:pt x="115" y="482"/>
                      <a:pt x="107" y="496"/>
                      <a:pt x="107" y="496"/>
                    </a:cubicBezTo>
                    <a:cubicBezTo>
                      <a:pt x="100" y="503"/>
                      <a:pt x="100" y="503"/>
                      <a:pt x="100" y="503"/>
                    </a:cubicBezTo>
                    <a:cubicBezTo>
                      <a:pt x="111" y="505"/>
                      <a:pt x="111" y="505"/>
                      <a:pt x="111" y="505"/>
                    </a:cubicBezTo>
                    <a:cubicBezTo>
                      <a:pt x="111" y="507"/>
                      <a:pt x="111" y="507"/>
                      <a:pt x="111" y="507"/>
                    </a:cubicBezTo>
                    <a:cubicBezTo>
                      <a:pt x="127" y="509"/>
                      <a:pt x="127" y="509"/>
                      <a:pt x="127" y="509"/>
                    </a:cubicBezTo>
                    <a:cubicBezTo>
                      <a:pt x="110" y="510"/>
                      <a:pt x="110" y="510"/>
                      <a:pt x="110" y="510"/>
                    </a:cubicBezTo>
                    <a:cubicBezTo>
                      <a:pt x="112" y="520"/>
                      <a:pt x="112" y="520"/>
                      <a:pt x="112" y="520"/>
                    </a:cubicBezTo>
                    <a:cubicBezTo>
                      <a:pt x="118" y="519"/>
                      <a:pt x="118" y="519"/>
                      <a:pt x="118" y="519"/>
                    </a:cubicBezTo>
                    <a:cubicBezTo>
                      <a:pt x="123" y="515"/>
                      <a:pt x="123" y="515"/>
                      <a:pt x="123" y="515"/>
                    </a:cubicBezTo>
                    <a:cubicBezTo>
                      <a:pt x="122" y="520"/>
                      <a:pt x="122" y="520"/>
                      <a:pt x="122" y="520"/>
                    </a:cubicBezTo>
                    <a:cubicBezTo>
                      <a:pt x="130" y="524"/>
                      <a:pt x="130" y="524"/>
                      <a:pt x="130" y="524"/>
                    </a:cubicBezTo>
                    <a:cubicBezTo>
                      <a:pt x="130" y="524"/>
                      <a:pt x="135" y="522"/>
                      <a:pt x="134" y="527"/>
                    </a:cubicBezTo>
                    <a:cubicBezTo>
                      <a:pt x="134" y="532"/>
                      <a:pt x="129" y="535"/>
                      <a:pt x="129" y="535"/>
                    </a:cubicBezTo>
                    <a:cubicBezTo>
                      <a:pt x="129" y="535"/>
                      <a:pt x="123" y="529"/>
                      <a:pt x="119" y="536"/>
                    </a:cubicBezTo>
                    <a:cubicBezTo>
                      <a:pt x="115" y="542"/>
                      <a:pt x="122" y="543"/>
                      <a:pt x="122" y="543"/>
                    </a:cubicBezTo>
                    <a:cubicBezTo>
                      <a:pt x="128" y="540"/>
                      <a:pt x="128" y="540"/>
                      <a:pt x="128" y="540"/>
                    </a:cubicBezTo>
                    <a:cubicBezTo>
                      <a:pt x="133" y="541"/>
                      <a:pt x="133" y="541"/>
                      <a:pt x="133" y="541"/>
                    </a:cubicBezTo>
                    <a:cubicBezTo>
                      <a:pt x="176" y="530"/>
                      <a:pt x="176" y="530"/>
                      <a:pt x="176" y="530"/>
                    </a:cubicBezTo>
                    <a:cubicBezTo>
                      <a:pt x="162" y="540"/>
                      <a:pt x="162" y="540"/>
                      <a:pt x="162" y="540"/>
                    </a:cubicBezTo>
                    <a:cubicBezTo>
                      <a:pt x="163" y="546"/>
                      <a:pt x="163" y="546"/>
                      <a:pt x="163" y="546"/>
                    </a:cubicBezTo>
                    <a:cubicBezTo>
                      <a:pt x="150" y="548"/>
                      <a:pt x="150" y="548"/>
                      <a:pt x="150" y="548"/>
                    </a:cubicBezTo>
                    <a:cubicBezTo>
                      <a:pt x="137" y="555"/>
                      <a:pt x="137" y="555"/>
                      <a:pt x="137" y="555"/>
                    </a:cubicBezTo>
                    <a:cubicBezTo>
                      <a:pt x="130" y="561"/>
                      <a:pt x="130" y="561"/>
                      <a:pt x="130" y="561"/>
                    </a:cubicBezTo>
                    <a:cubicBezTo>
                      <a:pt x="132" y="562"/>
                      <a:pt x="132" y="562"/>
                      <a:pt x="132" y="562"/>
                    </a:cubicBezTo>
                    <a:cubicBezTo>
                      <a:pt x="147" y="558"/>
                      <a:pt x="147" y="558"/>
                      <a:pt x="147" y="558"/>
                    </a:cubicBezTo>
                    <a:cubicBezTo>
                      <a:pt x="147" y="554"/>
                      <a:pt x="147" y="554"/>
                      <a:pt x="147" y="554"/>
                    </a:cubicBezTo>
                    <a:cubicBezTo>
                      <a:pt x="153" y="553"/>
                      <a:pt x="153" y="553"/>
                      <a:pt x="153" y="553"/>
                    </a:cubicBezTo>
                    <a:cubicBezTo>
                      <a:pt x="155" y="554"/>
                      <a:pt x="155" y="554"/>
                      <a:pt x="155" y="554"/>
                    </a:cubicBezTo>
                    <a:cubicBezTo>
                      <a:pt x="167" y="548"/>
                      <a:pt x="167" y="548"/>
                      <a:pt x="167" y="548"/>
                    </a:cubicBezTo>
                    <a:cubicBezTo>
                      <a:pt x="168" y="551"/>
                      <a:pt x="168" y="551"/>
                      <a:pt x="168" y="551"/>
                    </a:cubicBezTo>
                    <a:cubicBezTo>
                      <a:pt x="162" y="556"/>
                      <a:pt x="162" y="556"/>
                      <a:pt x="162" y="556"/>
                    </a:cubicBezTo>
                    <a:cubicBezTo>
                      <a:pt x="165" y="558"/>
                      <a:pt x="165" y="558"/>
                      <a:pt x="165" y="558"/>
                    </a:cubicBezTo>
                    <a:cubicBezTo>
                      <a:pt x="162" y="560"/>
                      <a:pt x="162" y="560"/>
                      <a:pt x="162" y="560"/>
                    </a:cubicBezTo>
                    <a:cubicBezTo>
                      <a:pt x="165" y="562"/>
                      <a:pt x="165" y="562"/>
                      <a:pt x="165" y="562"/>
                    </a:cubicBezTo>
                    <a:cubicBezTo>
                      <a:pt x="177" y="550"/>
                      <a:pt x="177" y="550"/>
                      <a:pt x="177" y="550"/>
                    </a:cubicBezTo>
                    <a:cubicBezTo>
                      <a:pt x="175" y="543"/>
                      <a:pt x="175" y="543"/>
                      <a:pt x="175" y="543"/>
                    </a:cubicBezTo>
                    <a:cubicBezTo>
                      <a:pt x="175" y="543"/>
                      <a:pt x="179" y="540"/>
                      <a:pt x="185" y="539"/>
                    </a:cubicBezTo>
                    <a:cubicBezTo>
                      <a:pt x="192" y="538"/>
                      <a:pt x="195" y="545"/>
                      <a:pt x="195" y="545"/>
                    </a:cubicBezTo>
                    <a:cubicBezTo>
                      <a:pt x="206" y="551"/>
                      <a:pt x="206" y="551"/>
                      <a:pt x="206" y="551"/>
                    </a:cubicBezTo>
                    <a:cubicBezTo>
                      <a:pt x="210" y="549"/>
                      <a:pt x="210" y="549"/>
                      <a:pt x="210" y="549"/>
                    </a:cubicBezTo>
                    <a:cubicBezTo>
                      <a:pt x="208" y="545"/>
                      <a:pt x="208" y="545"/>
                      <a:pt x="208" y="545"/>
                    </a:cubicBezTo>
                    <a:cubicBezTo>
                      <a:pt x="212" y="541"/>
                      <a:pt x="212" y="541"/>
                      <a:pt x="212" y="541"/>
                    </a:cubicBezTo>
                    <a:cubicBezTo>
                      <a:pt x="221" y="545"/>
                      <a:pt x="221" y="545"/>
                      <a:pt x="221" y="545"/>
                    </a:cubicBezTo>
                    <a:cubicBezTo>
                      <a:pt x="221" y="545"/>
                      <a:pt x="219" y="546"/>
                      <a:pt x="218" y="548"/>
                    </a:cubicBezTo>
                    <a:cubicBezTo>
                      <a:pt x="216" y="548"/>
                      <a:pt x="217" y="552"/>
                      <a:pt x="217" y="552"/>
                    </a:cubicBezTo>
                    <a:cubicBezTo>
                      <a:pt x="221" y="551"/>
                      <a:pt x="221" y="551"/>
                      <a:pt x="221" y="551"/>
                    </a:cubicBezTo>
                    <a:cubicBezTo>
                      <a:pt x="225" y="557"/>
                      <a:pt x="225" y="557"/>
                      <a:pt x="225" y="557"/>
                    </a:cubicBezTo>
                    <a:cubicBezTo>
                      <a:pt x="223" y="548"/>
                      <a:pt x="223" y="548"/>
                      <a:pt x="223" y="548"/>
                    </a:cubicBezTo>
                    <a:cubicBezTo>
                      <a:pt x="227" y="546"/>
                      <a:pt x="232" y="543"/>
                      <a:pt x="233" y="545"/>
                    </a:cubicBezTo>
                    <a:cubicBezTo>
                      <a:pt x="236" y="548"/>
                      <a:pt x="233" y="552"/>
                      <a:pt x="233" y="552"/>
                    </a:cubicBezTo>
                    <a:cubicBezTo>
                      <a:pt x="241" y="560"/>
                      <a:pt x="241" y="560"/>
                      <a:pt x="241" y="560"/>
                    </a:cubicBezTo>
                    <a:cubicBezTo>
                      <a:pt x="241" y="566"/>
                      <a:pt x="241" y="566"/>
                      <a:pt x="241" y="566"/>
                    </a:cubicBezTo>
                    <a:cubicBezTo>
                      <a:pt x="241" y="566"/>
                      <a:pt x="255" y="570"/>
                      <a:pt x="267" y="572"/>
                    </a:cubicBezTo>
                    <a:cubicBezTo>
                      <a:pt x="278" y="573"/>
                      <a:pt x="284" y="564"/>
                      <a:pt x="295" y="556"/>
                    </a:cubicBezTo>
                    <a:cubicBezTo>
                      <a:pt x="305" y="550"/>
                      <a:pt x="312" y="558"/>
                      <a:pt x="312" y="558"/>
                    </a:cubicBezTo>
                    <a:cubicBezTo>
                      <a:pt x="315" y="546"/>
                      <a:pt x="315" y="546"/>
                      <a:pt x="315" y="546"/>
                    </a:cubicBezTo>
                    <a:cubicBezTo>
                      <a:pt x="309" y="546"/>
                      <a:pt x="309" y="546"/>
                      <a:pt x="309" y="546"/>
                    </a:cubicBezTo>
                    <a:cubicBezTo>
                      <a:pt x="309" y="546"/>
                      <a:pt x="312" y="527"/>
                      <a:pt x="310" y="517"/>
                    </a:cubicBezTo>
                    <a:cubicBezTo>
                      <a:pt x="309" y="507"/>
                      <a:pt x="318" y="510"/>
                      <a:pt x="332" y="508"/>
                    </a:cubicBezTo>
                    <a:cubicBezTo>
                      <a:pt x="346" y="506"/>
                      <a:pt x="353" y="506"/>
                      <a:pt x="353" y="506"/>
                    </a:cubicBezTo>
                    <a:cubicBezTo>
                      <a:pt x="353" y="506"/>
                      <a:pt x="379" y="510"/>
                      <a:pt x="391" y="513"/>
                    </a:cubicBezTo>
                    <a:cubicBezTo>
                      <a:pt x="402" y="515"/>
                      <a:pt x="407" y="526"/>
                      <a:pt x="417" y="534"/>
                    </a:cubicBezTo>
                    <a:cubicBezTo>
                      <a:pt x="429" y="540"/>
                      <a:pt x="454" y="525"/>
                      <a:pt x="454" y="525"/>
                    </a:cubicBezTo>
                    <a:cubicBezTo>
                      <a:pt x="454" y="525"/>
                      <a:pt x="484" y="507"/>
                      <a:pt x="494" y="497"/>
                    </a:cubicBezTo>
                    <a:cubicBezTo>
                      <a:pt x="505" y="489"/>
                      <a:pt x="514" y="458"/>
                      <a:pt x="523" y="449"/>
                    </a:cubicBezTo>
                    <a:cubicBezTo>
                      <a:pt x="530" y="442"/>
                      <a:pt x="553" y="456"/>
                      <a:pt x="563" y="456"/>
                    </a:cubicBezTo>
                    <a:cubicBezTo>
                      <a:pt x="575" y="455"/>
                      <a:pt x="578" y="441"/>
                      <a:pt x="578" y="441"/>
                    </a:cubicBezTo>
                    <a:cubicBezTo>
                      <a:pt x="573" y="439"/>
                      <a:pt x="573" y="439"/>
                      <a:pt x="573" y="439"/>
                    </a:cubicBezTo>
                    <a:cubicBezTo>
                      <a:pt x="581" y="436"/>
                      <a:pt x="581" y="436"/>
                      <a:pt x="581" y="436"/>
                    </a:cubicBezTo>
                    <a:cubicBezTo>
                      <a:pt x="581" y="436"/>
                      <a:pt x="578" y="423"/>
                      <a:pt x="592" y="423"/>
                    </a:cubicBezTo>
                    <a:cubicBezTo>
                      <a:pt x="606" y="423"/>
                      <a:pt x="606" y="438"/>
                      <a:pt x="606" y="438"/>
                    </a:cubicBezTo>
                    <a:cubicBezTo>
                      <a:pt x="606" y="438"/>
                      <a:pt x="594" y="446"/>
                      <a:pt x="590" y="458"/>
                    </a:cubicBezTo>
                    <a:cubicBezTo>
                      <a:pt x="587" y="469"/>
                      <a:pt x="606" y="474"/>
                      <a:pt x="607" y="477"/>
                    </a:cubicBezTo>
                    <a:cubicBezTo>
                      <a:pt x="608" y="479"/>
                      <a:pt x="606" y="486"/>
                      <a:pt x="606" y="486"/>
                    </a:cubicBezTo>
                    <a:cubicBezTo>
                      <a:pt x="623" y="489"/>
                      <a:pt x="623" y="489"/>
                      <a:pt x="623" y="489"/>
                    </a:cubicBezTo>
                    <a:cubicBezTo>
                      <a:pt x="631" y="472"/>
                      <a:pt x="631" y="472"/>
                      <a:pt x="631" y="472"/>
                    </a:cubicBezTo>
                    <a:cubicBezTo>
                      <a:pt x="624" y="459"/>
                      <a:pt x="624" y="459"/>
                      <a:pt x="624" y="459"/>
                    </a:cubicBezTo>
                    <a:cubicBezTo>
                      <a:pt x="638" y="451"/>
                      <a:pt x="638" y="451"/>
                      <a:pt x="638" y="451"/>
                    </a:cubicBezTo>
                    <a:cubicBezTo>
                      <a:pt x="625" y="439"/>
                      <a:pt x="625" y="439"/>
                      <a:pt x="625" y="439"/>
                    </a:cubicBezTo>
                    <a:cubicBezTo>
                      <a:pt x="625" y="439"/>
                      <a:pt x="625" y="423"/>
                      <a:pt x="626" y="416"/>
                    </a:cubicBezTo>
                    <a:cubicBezTo>
                      <a:pt x="626" y="410"/>
                      <a:pt x="645" y="413"/>
                      <a:pt x="645" y="413"/>
                    </a:cubicBezTo>
                    <a:cubicBezTo>
                      <a:pt x="648" y="419"/>
                      <a:pt x="648" y="419"/>
                      <a:pt x="648" y="419"/>
                    </a:cubicBezTo>
                    <a:cubicBezTo>
                      <a:pt x="675" y="407"/>
                      <a:pt x="675" y="407"/>
                      <a:pt x="675" y="407"/>
                    </a:cubicBezTo>
                    <a:cubicBezTo>
                      <a:pt x="674" y="400"/>
                      <a:pt x="674" y="400"/>
                      <a:pt x="674" y="400"/>
                    </a:cubicBezTo>
                    <a:cubicBezTo>
                      <a:pt x="684" y="398"/>
                      <a:pt x="684" y="398"/>
                      <a:pt x="684" y="398"/>
                    </a:cubicBezTo>
                    <a:cubicBezTo>
                      <a:pt x="684" y="398"/>
                      <a:pt x="698" y="380"/>
                      <a:pt x="707" y="377"/>
                    </a:cubicBezTo>
                    <a:cubicBezTo>
                      <a:pt x="714" y="372"/>
                      <a:pt x="732" y="382"/>
                      <a:pt x="732" y="382"/>
                    </a:cubicBezTo>
                    <a:cubicBezTo>
                      <a:pt x="751" y="373"/>
                      <a:pt x="751" y="373"/>
                      <a:pt x="751" y="373"/>
                    </a:cubicBezTo>
                    <a:cubicBezTo>
                      <a:pt x="751" y="373"/>
                      <a:pt x="766" y="371"/>
                      <a:pt x="781" y="360"/>
                    </a:cubicBezTo>
                    <a:cubicBezTo>
                      <a:pt x="796" y="348"/>
                      <a:pt x="825" y="313"/>
                      <a:pt x="825" y="313"/>
                    </a:cubicBezTo>
                    <a:cubicBezTo>
                      <a:pt x="825" y="313"/>
                      <a:pt x="845" y="305"/>
                      <a:pt x="865" y="297"/>
                    </a:cubicBezTo>
                    <a:cubicBezTo>
                      <a:pt x="885" y="288"/>
                      <a:pt x="889" y="271"/>
                      <a:pt x="889" y="271"/>
                    </a:cubicBezTo>
                    <a:cubicBezTo>
                      <a:pt x="900" y="272"/>
                      <a:pt x="900" y="272"/>
                      <a:pt x="900" y="272"/>
                    </a:cubicBezTo>
                    <a:cubicBezTo>
                      <a:pt x="904" y="276"/>
                      <a:pt x="904" y="276"/>
                      <a:pt x="904" y="276"/>
                    </a:cubicBezTo>
                    <a:cubicBezTo>
                      <a:pt x="916" y="270"/>
                      <a:pt x="916" y="270"/>
                      <a:pt x="916" y="270"/>
                    </a:cubicBezTo>
                    <a:cubicBezTo>
                      <a:pt x="910" y="253"/>
                      <a:pt x="910" y="253"/>
                      <a:pt x="910" y="253"/>
                    </a:cubicBezTo>
                    <a:cubicBezTo>
                      <a:pt x="930" y="253"/>
                      <a:pt x="930" y="253"/>
                      <a:pt x="930" y="253"/>
                    </a:cubicBezTo>
                    <a:cubicBezTo>
                      <a:pt x="933" y="246"/>
                      <a:pt x="933" y="246"/>
                      <a:pt x="933" y="246"/>
                    </a:cubicBezTo>
                    <a:cubicBezTo>
                      <a:pt x="946" y="246"/>
                      <a:pt x="946" y="246"/>
                      <a:pt x="946" y="246"/>
                    </a:cubicBezTo>
                    <a:cubicBezTo>
                      <a:pt x="946" y="242"/>
                      <a:pt x="946" y="242"/>
                      <a:pt x="946" y="242"/>
                    </a:cubicBezTo>
                    <a:cubicBezTo>
                      <a:pt x="975" y="238"/>
                      <a:pt x="975" y="238"/>
                      <a:pt x="975" y="238"/>
                    </a:cubicBezTo>
                    <a:cubicBezTo>
                      <a:pt x="975" y="238"/>
                      <a:pt x="976" y="225"/>
                      <a:pt x="988" y="225"/>
                    </a:cubicBezTo>
                    <a:cubicBezTo>
                      <a:pt x="1000" y="225"/>
                      <a:pt x="995" y="240"/>
                      <a:pt x="995" y="240"/>
                    </a:cubicBezTo>
                    <a:cubicBezTo>
                      <a:pt x="1002" y="242"/>
                      <a:pt x="1002" y="242"/>
                      <a:pt x="1002" y="242"/>
                    </a:cubicBezTo>
                    <a:cubicBezTo>
                      <a:pt x="1002" y="242"/>
                      <a:pt x="1008" y="227"/>
                      <a:pt x="1011" y="223"/>
                    </a:cubicBezTo>
                    <a:cubicBezTo>
                      <a:pt x="1013" y="220"/>
                      <a:pt x="1020" y="222"/>
                      <a:pt x="1020" y="222"/>
                    </a:cubicBezTo>
                    <a:cubicBezTo>
                      <a:pt x="1020" y="222"/>
                      <a:pt x="1022" y="213"/>
                      <a:pt x="1019" y="21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5" name="Litau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908061" y="2182340"/>
                <a:ext cx="626521" cy="475181"/>
              </a:xfrm>
              <a:custGeom>
                <a:avLst/>
                <a:gdLst/>
                <a:ahLst/>
                <a:cxnLst>
                  <a:cxn ang="0">
                    <a:pos x="87" y="142"/>
                  </a:cxn>
                  <a:cxn ang="0">
                    <a:pos x="110" y="154"/>
                  </a:cxn>
                  <a:cxn ang="0">
                    <a:pos x="114" y="168"/>
                  </a:cxn>
                  <a:cxn ang="0">
                    <a:pos x="127" y="163"/>
                  </a:cxn>
                  <a:cxn ang="0">
                    <a:pos x="141" y="163"/>
                  </a:cxn>
                  <a:cxn ang="0">
                    <a:pos x="155" y="158"/>
                  </a:cxn>
                  <a:cxn ang="0">
                    <a:pos x="161" y="146"/>
                  </a:cxn>
                  <a:cxn ang="0">
                    <a:pos x="175" y="136"/>
                  </a:cxn>
                  <a:cxn ang="0">
                    <a:pos x="189" y="142"/>
                  </a:cxn>
                  <a:cxn ang="0">
                    <a:pos x="188" y="129"/>
                  </a:cxn>
                  <a:cxn ang="0">
                    <a:pos x="188" y="96"/>
                  </a:cxn>
                  <a:cxn ang="0">
                    <a:pos x="203" y="74"/>
                  </a:cxn>
                  <a:cxn ang="0">
                    <a:pos x="218" y="65"/>
                  </a:cxn>
                  <a:cxn ang="0">
                    <a:pos x="207" y="58"/>
                  </a:cxn>
                  <a:cxn ang="0">
                    <a:pos x="210" y="42"/>
                  </a:cxn>
                  <a:cxn ang="0">
                    <a:pos x="197" y="33"/>
                  </a:cxn>
                  <a:cxn ang="0">
                    <a:pos x="191" y="29"/>
                  </a:cxn>
                  <a:cxn ang="0">
                    <a:pos x="169" y="15"/>
                  </a:cxn>
                  <a:cxn ang="0">
                    <a:pos x="148" y="14"/>
                  </a:cxn>
                  <a:cxn ang="0">
                    <a:pos x="137" y="0"/>
                  </a:cxn>
                  <a:cxn ang="0">
                    <a:pos x="127" y="12"/>
                  </a:cxn>
                  <a:cxn ang="0">
                    <a:pos x="120" y="12"/>
                  </a:cxn>
                  <a:cxn ang="0">
                    <a:pos x="107" y="10"/>
                  </a:cxn>
                  <a:cxn ang="0">
                    <a:pos x="90" y="15"/>
                  </a:cxn>
                  <a:cxn ang="0">
                    <a:pos x="77" y="13"/>
                  </a:cxn>
                  <a:cxn ang="0">
                    <a:pos x="71" y="18"/>
                  </a:cxn>
                  <a:cxn ang="0">
                    <a:pos x="66" y="13"/>
                  </a:cxn>
                  <a:cxn ang="0">
                    <a:pos x="54" y="15"/>
                  </a:cxn>
                  <a:cxn ang="0">
                    <a:pos x="31" y="21"/>
                  </a:cxn>
                  <a:cxn ang="0">
                    <a:pos x="23" y="24"/>
                  </a:cxn>
                  <a:cxn ang="0">
                    <a:pos x="7" y="40"/>
                  </a:cxn>
                  <a:cxn ang="0">
                    <a:pos x="4" y="40"/>
                  </a:cxn>
                  <a:cxn ang="0">
                    <a:pos x="5" y="62"/>
                  </a:cxn>
                  <a:cxn ang="0">
                    <a:pos x="6" y="72"/>
                  </a:cxn>
                  <a:cxn ang="0">
                    <a:pos x="5" y="94"/>
                  </a:cxn>
                  <a:cxn ang="0">
                    <a:pos x="9" y="86"/>
                  </a:cxn>
                  <a:cxn ang="0">
                    <a:pos x="9" y="71"/>
                  </a:cxn>
                  <a:cxn ang="0">
                    <a:pos x="14" y="87"/>
                  </a:cxn>
                  <a:cxn ang="0">
                    <a:pos x="16" y="92"/>
                  </a:cxn>
                  <a:cxn ang="0">
                    <a:pos x="24" y="100"/>
                  </a:cxn>
                  <a:cxn ang="0">
                    <a:pos x="37" y="102"/>
                  </a:cxn>
                  <a:cxn ang="0">
                    <a:pos x="48" y="107"/>
                  </a:cxn>
                  <a:cxn ang="0">
                    <a:pos x="69" y="103"/>
                  </a:cxn>
                  <a:cxn ang="0">
                    <a:pos x="77" y="120"/>
                  </a:cxn>
                  <a:cxn ang="0">
                    <a:pos x="81" y="146"/>
                  </a:cxn>
                </a:cxnLst>
                <a:rect l="0" t="0" r="r" b="b"/>
                <a:pathLst>
                  <a:path w="222" h="168">
                    <a:moveTo>
                      <a:pt x="83" y="146"/>
                    </a:moveTo>
                    <a:cubicBezTo>
                      <a:pt x="83" y="146"/>
                      <a:pt x="84" y="141"/>
                      <a:pt x="87" y="142"/>
                    </a:cubicBezTo>
                    <a:cubicBezTo>
                      <a:pt x="90" y="143"/>
                      <a:pt x="89" y="147"/>
                      <a:pt x="93" y="148"/>
                    </a:cubicBezTo>
                    <a:cubicBezTo>
                      <a:pt x="97" y="148"/>
                      <a:pt x="105" y="146"/>
                      <a:pt x="110" y="154"/>
                    </a:cubicBezTo>
                    <a:cubicBezTo>
                      <a:pt x="114" y="162"/>
                      <a:pt x="111" y="165"/>
                      <a:pt x="111" y="165"/>
                    </a:cubicBezTo>
                    <a:cubicBezTo>
                      <a:pt x="114" y="168"/>
                      <a:pt x="114" y="168"/>
                      <a:pt x="114" y="168"/>
                    </a:cubicBezTo>
                    <a:cubicBezTo>
                      <a:pt x="126" y="167"/>
                      <a:pt x="126" y="167"/>
                      <a:pt x="126" y="167"/>
                    </a:cubicBezTo>
                    <a:cubicBezTo>
                      <a:pt x="127" y="163"/>
                      <a:pt x="127" y="163"/>
                      <a:pt x="127" y="163"/>
                    </a:cubicBezTo>
                    <a:cubicBezTo>
                      <a:pt x="134" y="165"/>
                      <a:pt x="134" y="165"/>
                      <a:pt x="134" y="165"/>
                    </a:cubicBezTo>
                    <a:cubicBezTo>
                      <a:pt x="141" y="163"/>
                      <a:pt x="141" y="163"/>
                      <a:pt x="141" y="163"/>
                    </a:cubicBezTo>
                    <a:cubicBezTo>
                      <a:pt x="148" y="166"/>
                      <a:pt x="148" y="166"/>
                      <a:pt x="148" y="166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55" y="158"/>
                      <a:pt x="159" y="160"/>
                      <a:pt x="163" y="158"/>
                    </a:cubicBezTo>
                    <a:cubicBezTo>
                      <a:pt x="167" y="157"/>
                      <a:pt x="160" y="148"/>
                      <a:pt x="161" y="146"/>
                    </a:cubicBezTo>
                    <a:cubicBezTo>
                      <a:pt x="163" y="143"/>
                      <a:pt x="171" y="146"/>
                      <a:pt x="171" y="146"/>
                    </a:cubicBezTo>
                    <a:cubicBezTo>
                      <a:pt x="175" y="136"/>
                      <a:pt x="175" y="136"/>
                      <a:pt x="175" y="136"/>
                    </a:cubicBezTo>
                    <a:cubicBezTo>
                      <a:pt x="175" y="136"/>
                      <a:pt x="181" y="134"/>
                      <a:pt x="186" y="134"/>
                    </a:cubicBezTo>
                    <a:cubicBezTo>
                      <a:pt x="190" y="133"/>
                      <a:pt x="186" y="139"/>
                      <a:pt x="189" y="142"/>
                    </a:cubicBezTo>
                    <a:cubicBezTo>
                      <a:pt x="192" y="145"/>
                      <a:pt x="199" y="140"/>
                      <a:pt x="197" y="133"/>
                    </a:cubicBezTo>
                    <a:cubicBezTo>
                      <a:pt x="197" y="128"/>
                      <a:pt x="188" y="129"/>
                      <a:pt x="188" y="129"/>
                    </a:cubicBezTo>
                    <a:cubicBezTo>
                      <a:pt x="191" y="113"/>
                      <a:pt x="191" y="113"/>
                      <a:pt x="191" y="113"/>
                    </a:cubicBezTo>
                    <a:cubicBezTo>
                      <a:pt x="191" y="113"/>
                      <a:pt x="188" y="101"/>
                      <a:pt x="188" y="96"/>
                    </a:cubicBezTo>
                    <a:cubicBezTo>
                      <a:pt x="188" y="92"/>
                      <a:pt x="195" y="87"/>
                      <a:pt x="200" y="86"/>
                    </a:cubicBezTo>
                    <a:cubicBezTo>
                      <a:pt x="204" y="84"/>
                      <a:pt x="203" y="74"/>
                      <a:pt x="203" y="74"/>
                    </a:cubicBezTo>
                    <a:cubicBezTo>
                      <a:pt x="218" y="70"/>
                      <a:pt x="218" y="70"/>
                      <a:pt x="218" y="70"/>
                    </a:cubicBezTo>
                    <a:cubicBezTo>
                      <a:pt x="218" y="65"/>
                      <a:pt x="218" y="65"/>
                      <a:pt x="218" y="65"/>
                    </a:cubicBezTo>
                    <a:cubicBezTo>
                      <a:pt x="218" y="65"/>
                      <a:pt x="222" y="60"/>
                      <a:pt x="221" y="56"/>
                    </a:cubicBezTo>
                    <a:cubicBezTo>
                      <a:pt x="220" y="53"/>
                      <a:pt x="207" y="58"/>
                      <a:pt x="207" y="58"/>
                    </a:cubicBezTo>
                    <a:cubicBezTo>
                      <a:pt x="208" y="48"/>
                      <a:pt x="208" y="48"/>
                      <a:pt x="208" y="48"/>
                    </a:cubicBezTo>
                    <a:cubicBezTo>
                      <a:pt x="210" y="42"/>
                      <a:pt x="210" y="42"/>
                      <a:pt x="210" y="42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197" y="33"/>
                      <a:pt x="197" y="33"/>
                      <a:pt x="197" y="33"/>
                    </a:cubicBezTo>
                    <a:cubicBezTo>
                      <a:pt x="196" y="29"/>
                      <a:pt x="196" y="29"/>
                      <a:pt x="196" y="29"/>
                    </a:cubicBezTo>
                    <a:cubicBezTo>
                      <a:pt x="191" y="29"/>
                      <a:pt x="191" y="29"/>
                      <a:pt x="191" y="29"/>
                    </a:cubicBezTo>
                    <a:cubicBezTo>
                      <a:pt x="191" y="29"/>
                      <a:pt x="188" y="22"/>
                      <a:pt x="186" y="19"/>
                    </a:cubicBezTo>
                    <a:cubicBezTo>
                      <a:pt x="183" y="16"/>
                      <a:pt x="169" y="15"/>
                      <a:pt x="169" y="15"/>
                    </a:cubicBezTo>
                    <a:cubicBezTo>
                      <a:pt x="169" y="12"/>
                      <a:pt x="169" y="12"/>
                      <a:pt x="169" y="12"/>
                    </a:cubicBezTo>
                    <a:cubicBezTo>
                      <a:pt x="148" y="14"/>
                      <a:pt x="148" y="14"/>
                      <a:pt x="148" y="14"/>
                    </a:cubicBezTo>
                    <a:cubicBezTo>
                      <a:pt x="142" y="2"/>
                      <a:pt x="142" y="2"/>
                      <a:pt x="142" y="2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30" y="5"/>
                      <a:pt x="130" y="5"/>
                      <a:pt x="130" y="5"/>
                    </a:cubicBezTo>
                    <a:cubicBezTo>
                      <a:pt x="127" y="12"/>
                      <a:pt x="127" y="12"/>
                      <a:pt x="127" y="12"/>
                    </a:cubicBezTo>
                    <a:cubicBezTo>
                      <a:pt x="124" y="13"/>
                      <a:pt x="124" y="13"/>
                      <a:pt x="124" y="13"/>
                    </a:cubicBezTo>
                    <a:cubicBezTo>
                      <a:pt x="120" y="12"/>
                      <a:pt x="120" y="12"/>
                      <a:pt x="120" y="12"/>
                    </a:cubicBezTo>
                    <a:cubicBezTo>
                      <a:pt x="113" y="15"/>
                      <a:pt x="113" y="15"/>
                      <a:pt x="113" y="15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94" y="10"/>
                      <a:pt x="94" y="10"/>
                      <a:pt x="94" y="10"/>
                    </a:cubicBezTo>
                    <a:cubicBezTo>
                      <a:pt x="90" y="15"/>
                      <a:pt x="90" y="15"/>
                      <a:pt x="90" y="15"/>
                    </a:cubicBezTo>
                    <a:cubicBezTo>
                      <a:pt x="83" y="12"/>
                      <a:pt x="83" y="12"/>
                      <a:pt x="83" y="12"/>
                    </a:cubicBezTo>
                    <a:cubicBezTo>
                      <a:pt x="77" y="13"/>
                      <a:pt x="77" y="13"/>
                      <a:pt x="77" y="13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71" y="18"/>
                      <a:pt x="71" y="18"/>
                      <a:pt x="71" y="18"/>
                    </a:cubicBezTo>
                    <a:cubicBezTo>
                      <a:pt x="70" y="12"/>
                      <a:pt x="70" y="12"/>
                      <a:pt x="70" y="12"/>
                    </a:cubicBezTo>
                    <a:cubicBezTo>
                      <a:pt x="66" y="13"/>
                      <a:pt x="66" y="13"/>
                      <a:pt x="66" y="13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54" y="15"/>
                      <a:pt x="54" y="15"/>
                      <a:pt x="54" y="15"/>
                    </a:cubicBezTo>
                    <a:cubicBezTo>
                      <a:pt x="36" y="16"/>
                      <a:pt x="36" y="16"/>
                      <a:pt x="36" y="16"/>
                    </a:cubicBezTo>
                    <a:cubicBezTo>
                      <a:pt x="31" y="21"/>
                      <a:pt x="31" y="21"/>
                      <a:pt x="31" y="21"/>
                    </a:cubicBezTo>
                    <a:cubicBezTo>
                      <a:pt x="28" y="20"/>
                      <a:pt x="28" y="20"/>
                      <a:pt x="28" y="20"/>
                    </a:cubicBezTo>
                    <a:cubicBezTo>
                      <a:pt x="23" y="24"/>
                      <a:pt x="23" y="24"/>
                      <a:pt x="23" y="24"/>
                    </a:cubicBezTo>
                    <a:cubicBezTo>
                      <a:pt x="23" y="24"/>
                      <a:pt x="20" y="22"/>
                      <a:pt x="16" y="26"/>
                    </a:cubicBezTo>
                    <a:cubicBezTo>
                      <a:pt x="12" y="31"/>
                      <a:pt x="7" y="40"/>
                      <a:pt x="7" y="40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44"/>
                      <a:pt x="4" y="57"/>
                      <a:pt x="5" y="62"/>
                    </a:cubicBezTo>
                    <a:cubicBezTo>
                      <a:pt x="5" y="64"/>
                      <a:pt x="6" y="66"/>
                      <a:pt x="7" y="68"/>
                    </a:cubicBezTo>
                    <a:cubicBezTo>
                      <a:pt x="6" y="72"/>
                      <a:pt x="6" y="72"/>
                      <a:pt x="6" y="72"/>
                    </a:cubicBezTo>
                    <a:cubicBezTo>
                      <a:pt x="7" y="84"/>
                      <a:pt x="7" y="84"/>
                      <a:pt x="7" y="84"/>
                    </a:cubicBezTo>
                    <a:cubicBezTo>
                      <a:pt x="5" y="94"/>
                      <a:pt x="5" y="94"/>
                      <a:pt x="5" y="94"/>
                    </a:cubicBezTo>
                    <a:cubicBezTo>
                      <a:pt x="7" y="93"/>
                      <a:pt x="7" y="93"/>
                      <a:pt x="7" y="93"/>
                    </a:cubicBezTo>
                    <a:cubicBezTo>
                      <a:pt x="9" y="86"/>
                      <a:pt x="9" y="86"/>
                      <a:pt x="9" y="86"/>
                    </a:cubicBezTo>
                    <a:cubicBezTo>
                      <a:pt x="8" y="73"/>
                      <a:pt x="8" y="73"/>
                      <a:pt x="8" y="73"/>
                    </a:cubicBezTo>
                    <a:cubicBezTo>
                      <a:pt x="9" y="71"/>
                      <a:pt x="9" y="71"/>
                      <a:pt x="9" y="71"/>
                    </a:cubicBezTo>
                    <a:cubicBezTo>
                      <a:pt x="10" y="76"/>
                      <a:pt x="12" y="79"/>
                      <a:pt x="12" y="79"/>
                    </a:cubicBezTo>
                    <a:cubicBezTo>
                      <a:pt x="14" y="87"/>
                      <a:pt x="14" y="87"/>
                      <a:pt x="14" y="87"/>
                    </a:cubicBezTo>
                    <a:cubicBezTo>
                      <a:pt x="12" y="92"/>
                      <a:pt x="12" y="92"/>
                      <a:pt x="12" y="92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9" y="96"/>
                      <a:pt x="19" y="96"/>
                      <a:pt x="19" y="96"/>
                    </a:cubicBezTo>
                    <a:cubicBezTo>
                      <a:pt x="24" y="100"/>
                      <a:pt x="24" y="100"/>
                      <a:pt x="24" y="100"/>
                    </a:cubicBezTo>
                    <a:cubicBezTo>
                      <a:pt x="30" y="99"/>
                      <a:pt x="30" y="99"/>
                      <a:pt x="30" y="99"/>
                    </a:cubicBezTo>
                    <a:cubicBezTo>
                      <a:pt x="30" y="99"/>
                      <a:pt x="32" y="100"/>
                      <a:pt x="37" y="102"/>
                    </a:cubicBezTo>
                    <a:cubicBezTo>
                      <a:pt x="41" y="105"/>
                      <a:pt x="47" y="103"/>
                      <a:pt x="47" y="103"/>
                    </a:cubicBezTo>
                    <a:cubicBezTo>
                      <a:pt x="48" y="107"/>
                      <a:pt x="48" y="107"/>
                      <a:pt x="48" y="107"/>
                    </a:cubicBezTo>
                    <a:cubicBezTo>
                      <a:pt x="58" y="103"/>
                      <a:pt x="58" y="103"/>
                      <a:pt x="58" y="103"/>
                    </a:cubicBezTo>
                    <a:cubicBezTo>
                      <a:pt x="69" y="103"/>
                      <a:pt x="69" y="103"/>
                      <a:pt x="69" y="103"/>
                    </a:cubicBezTo>
                    <a:cubicBezTo>
                      <a:pt x="69" y="103"/>
                      <a:pt x="78" y="110"/>
                      <a:pt x="81" y="112"/>
                    </a:cubicBezTo>
                    <a:cubicBezTo>
                      <a:pt x="85" y="115"/>
                      <a:pt x="77" y="120"/>
                      <a:pt x="77" y="120"/>
                    </a:cubicBezTo>
                    <a:cubicBezTo>
                      <a:pt x="77" y="120"/>
                      <a:pt x="75" y="125"/>
                      <a:pt x="75" y="131"/>
                    </a:cubicBezTo>
                    <a:cubicBezTo>
                      <a:pt x="74" y="139"/>
                      <a:pt x="81" y="146"/>
                      <a:pt x="81" y="146"/>
                    </a:cubicBezTo>
                    <a:lnTo>
                      <a:pt x="83" y="146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6" name="Italien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3257948" y="4014714"/>
                <a:ext cx="1663131" cy="1912112"/>
              </a:xfrm>
              <a:custGeom>
                <a:avLst/>
                <a:gdLst/>
                <a:ahLst/>
                <a:cxnLst>
                  <a:cxn ang="0">
                    <a:pos x="173" y="282"/>
                  </a:cxn>
                  <a:cxn ang="0">
                    <a:pos x="150" y="269"/>
                  </a:cxn>
                  <a:cxn ang="0">
                    <a:pos x="126" y="392"/>
                  </a:cxn>
                  <a:cxn ang="0">
                    <a:pos x="63" y="407"/>
                  </a:cxn>
                  <a:cxn ang="0">
                    <a:pos x="70" y="460"/>
                  </a:cxn>
                  <a:cxn ang="0">
                    <a:pos x="73" y="519"/>
                  </a:cxn>
                  <a:cxn ang="0">
                    <a:pos x="104" y="525"/>
                  </a:cxn>
                  <a:cxn ang="0">
                    <a:pos x="140" y="458"/>
                  </a:cxn>
                  <a:cxn ang="0">
                    <a:pos x="70" y="394"/>
                  </a:cxn>
                  <a:cxn ang="0">
                    <a:pos x="271" y="599"/>
                  </a:cxn>
                  <a:cxn ang="0">
                    <a:pos x="263" y="595"/>
                  </a:cxn>
                  <a:cxn ang="0">
                    <a:pos x="549" y="402"/>
                  </a:cxn>
                  <a:cxn ang="0">
                    <a:pos x="489" y="378"/>
                  </a:cxn>
                  <a:cxn ang="0">
                    <a:pos x="432" y="333"/>
                  </a:cxn>
                  <a:cxn ang="0">
                    <a:pos x="363" y="300"/>
                  </a:cxn>
                  <a:cxn ang="0">
                    <a:pos x="327" y="230"/>
                  </a:cxn>
                  <a:cxn ang="0">
                    <a:pos x="278" y="141"/>
                  </a:cxn>
                  <a:cxn ang="0">
                    <a:pos x="286" y="106"/>
                  </a:cxn>
                  <a:cxn ang="0">
                    <a:pos x="329" y="91"/>
                  </a:cxn>
                  <a:cxn ang="0">
                    <a:pos x="319" y="59"/>
                  </a:cxn>
                  <a:cxn ang="0">
                    <a:pos x="290" y="34"/>
                  </a:cxn>
                  <a:cxn ang="0">
                    <a:pos x="262" y="2"/>
                  </a:cxn>
                  <a:cxn ang="0">
                    <a:pos x="206" y="26"/>
                  </a:cxn>
                  <a:cxn ang="0">
                    <a:pos x="172" y="38"/>
                  </a:cxn>
                  <a:cxn ang="0">
                    <a:pos x="163" y="60"/>
                  </a:cxn>
                  <a:cxn ang="0">
                    <a:pos x="128" y="41"/>
                  </a:cxn>
                  <a:cxn ang="0">
                    <a:pos x="115" y="79"/>
                  </a:cxn>
                  <a:cxn ang="0">
                    <a:pos x="93" y="60"/>
                  </a:cxn>
                  <a:cxn ang="0">
                    <a:pos x="72" y="54"/>
                  </a:cxn>
                  <a:cxn ang="0">
                    <a:pos x="33" y="75"/>
                  </a:cxn>
                  <a:cxn ang="0">
                    <a:pos x="10" y="126"/>
                  </a:cxn>
                  <a:cxn ang="0">
                    <a:pos x="14" y="178"/>
                  </a:cxn>
                  <a:cxn ang="0">
                    <a:pos x="76" y="195"/>
                  </a:cxn>
                  <a:cxn ang="0">
                    <a:pos x="168" y="211"/>
                  </a:cxn>
                  <a:cxn ang="0">
                    <a:pos x="201" y="286"/>
                  </a:cxn>
                  <a:cxn ang="0">
                    <a:pos x="246" y="333"/>
                  </a:cxn>
                  <a:cxn ang="0">
                    <a:pos x="303" y="375"/>
                  </a:cxn>
                  <a:cxn ang="0">
                    <a:pos x="359" y="410"/>
                  </a:cxn>
                  <a:cxn ang="0">
                    <a:pos x="375" y="423"/>
                  </a:cxn>
                  <a:cxn ang="0">
                    <a:pos x="404" y="437"/>
                  </a:cxn>
                  <a:cxn ang="0">
                    <a:pos x="449" y="464"/>
                  </a:cxn>
                  <a:cxn ang="0">
                    <a:pos x="457" y="544"/>
                  </a:cxn>
                  <a:cxn ang="0">
                    <a:pos x="475" y="588"/>
                  </a:cxn>
                  <a:cxn ang="0">
                    <a:pos x="522" y="501"/>
                  </a:cxn>
                  <a:cxn ang="0">
                    <a:pos x="492" y="456"/>
                  </a:cxn>
                  <a:cxn ang="0">
                    <a:pos x="523" y="425"/>
                  </a:cxn>
                  <a:cxn ang="0">
                    <a:pos x="589" y="436"/>
                  </a:cxn>
                  <a:cxn ang="0">
                    <a:pos x="280" y="207"/>
                  </a:cxn>
                  <a:cxn ang="0">
                    <a:pos x="421" y="580"/>
                  </a:cxn>
                  <a:cxn ang="0">
                    <a:pos x="384" y="589"/>
                  </a:cxn>
                  <a:cxn ang="0">
                    <a:pos x="327" y="579"/>
                  </a:cxn>
                  <a:cxn ang="0">
                    <a:pos x="294" y="583"/>
                  </a:cxn>
                  <a:cxn ang="0">
                    <a:pos x="295" y="622"/>
                  </a:cxn>
                  <a:cxn ang="0">
                    <a:pos x="384" y="656"/>
                  </a:cxn>
                  <a:cxn ang="0">
                    <a:pos x="427" y="662"/>
                  </a:cxn>
                  <a:cxn ang="0">
                    <a:pos x="427" y="634"/>
                  </a:cxn>
                  <a:cxn ang="0">
                    <a:pos x="446" y="568"/>
                  </a:cxn>
                </a:cxnLst>
                <a:rect l="0" t="0" r="r" b="b"/>
                <a:pathLst>
                  <a:path w="589" h="678">
                    <a:moveTo>
                      <a:pt x="173" y="282"/>
                    </a:moveTo>
                    <a:cubicBezTo>
                      <a:pt x="161" y="283"/>
                      <a:pt x="161" y="283"/>
                      <a:pt x="161" y="283"/>
                    </a:cubicBezTo>
                    <a:cubicBezTo>
                      <a:pt x="162" y="289"/>
                      <a:pt x="162" y="289"/>
                      <a:pt x="162" y="289"/>
                    </a:cubicBezTo>
                    <a:cubicBezTo>
                      <a:pt x="172" y="285"/>
                      <a:pt x="172" y="285"/>
                      <a:pt x="172" y="285"/>
                    </a:cubicBezTo>
                    <a:cubicBezTo>
                      <a:pt x="178" y="288"/>
                      <a:pt x="178" y="288"/>
                      <a:pt x="178" y="288"/>
                    </a:cubicBezTo>
                    <a:cubicBezTo>
                      <a:pt x="179" y="281"/>
                      <a:pt x="179" y="281"/>
                      <a:pt x="179" y="281"/>
                    </a:cubicBezTo>
                    <a:cubicBezTo>
                      <a:pt x="177" y="279"/>
                      <a:pt x="177" y="279"/>
                      <a:pt x="177" y="279"/>
                    </a:cubicBezTo>
                    <a:lnTo>
                      <a:pt x="173" y="282"/>
                    </a:lnTo>
                    <a:close/>
                    <a:moveTo>
                      <a:pt x="201" y="310"/>
                    </a:moveTo>
                    <a:cubicBezTo>
                      <a:pt x="196" y="311"/>
                      <a:pt x="200" y="315"/>
                      <a:pt x="200" y="315"/>
                    </a:cubicBezTo>
                    <a:cubicBezTo>
                      <a:pt x="203" y="315"/>
                      <a:pt x="205" y="310"/>
                      <a:pt x="201" y="310"/>
                    </a:cubicBezTo>
                    <a:close/>
                    <a:moveTo>
                      <a:pt x="158" y="294"/>
                    </a:moveTo>
                    <a:cubicBezTo>
                      <a:pt x="154" y="297"/>
                      <a:pt x="159" y="300"/>
                      <a:pt x="159" y="300"/>
                    </a:cubicBezTo>
                    <a:cubicBezTo>
                      <a:pt x="164" y="299"/>
                      <a:pt x="163" y="291"/>
                      <a:pt x="158" y="294"/>
                    </a:cubicBezTo>
                    <a:close/>
                    <a:moveTo>
                      <a:pt x="151" y="265"/>
                    </a:moveTo>
                    <a:cubicBezTo>
                      <a:pt x="147" y="265"/>
                      <a:pt x="150" y="269"/>
                      <a:pt x="150" y="269"/>
                    </a:cubicBezTo>
                    <a:cubicBezTo>
                      <a:pt x="154" y="268"/>
                      <a:pt x="154" y="264"/>
                      <a:pt x="151" y="265"/>
                    </a:cubicBezTo>
                    <a:close/>
                    <a:moveTo>
                      <a:pt x="142" y="408"/>
                    </a:moveTo>
                    <a:cubicBezTo>
                      <a:pt x="136" y="402"/>
                      <a:pt x="136" y="402"/>
                      <a:pt x="136" y="402"/>
                    </a:cubicBezTo>
                    <a:cubicBezTo>
                      <a:pt x="138" y="396"/>
                      <a:pt x="138" y="396"/>
                      <a:pt x="138" y="396"/>
                    </a:cubicBezTo>
                    <a:cubicBezTo>
                      <a:pt x="134" y="395"/>
                      <a:pt x="134" y="395"/>
                      <a:pt x="134" y="395"/>
                    </a:cubicBezTo>
                    <a:cubicBezTo>
                      <a:pt x="134" y="392"/>
                      <a:pt x="134" y="392"/>
                      <a:pt x="134" y="392"/>
                    </a:cubicBezTo>
                    <a:cubicBezTo>
                      <a:pt x="132" y="389"/>
                      <a:pt x="132" y="389"/>
                      <a:pt x="132" y="389"/>
                    </a:cubicBezTo>
                    <a:cubicBezTo>
                      <a:pt x="126" y="392"/>
                      <a:pt x="126" y="392"/>
                      <a:pt x="126" y="392"/>
                    </a:cubicBezTo>
                    <a:cubicBezTo>
                      <a:pt x="126" y="392"/>
                      <a:pt x="125" y="389"/>
                      <a:pt x="121" y="386"/>
                    </a:cubicBezTo>
                    <a:cubicBezTo>
                      <a:pt x="118" y="383"/>
                      <a:pt x="113" y="382"/>
                      <a:pt x="113" y="382"/>
                    </a:cubicBezTo>
                    <a:cubicBezTo>
                      <a:pt x="113" y="390"/>
                      <a:pt x="113" y="390"/>
                      <a:pt x="113" y="390"/>
                    </a:cubicBezTo>
                    <a:cubicBezTo>
                      <a:pt x="106" y="389"/>
                      <a:pt x="106" y="389"/>
                      <a:pt x="106" y="389"/>
                    </a:cubicBezTo>
                    <a:cubicBezTo>
                      <a:pt x="106" y="389"/>
                      <a:pt x="91" y="407"/>
                      <a:pt x="80" y="408"/>
                    </a:cubicBezTo>
                    <a:cubicBezTo>
                      <a:pt x="67" y="410"/>
                      <a:pt x="65" y="400"/>
                      <a:pt x="65" y="400"/>
                    </a:cubicBezTo>
                    <a:cubicBezTo>
                      <a:pt x="59" y="401"/>
                      <a:pt x="59" y="401"/>
                      <a:pt x="59" y="401"/>
                    </a:cubicBezTo>
                    <a:cubicBezTo>
                      <a:pt x="63" y="407"/>
                      <a:pt x="63" y="407"/>
                      <a:pt x="63" y="407"/>
                    </a:cubicBezTo>
                    <a:cubicBezTo>
                      <a:pt x="60" y="415"/>
                      <a:pt x="60" y="415"/>
                      <a:pt x="60" y="415"/>
                    </a:cubicBezTo>
                    <a:cubicBezTo>
                      <a:pt x="60" y="415"/>
                      <a:pt x="58" y="421"/>
                      <a:pt x="59" y="425"/>
                    </a:cubicBezTo>
                    <a:cubicBezTo>
                      <a:pt x="61" y="429"/>
                      <a:pt x="67" y="426"/>
                      <a:pt x="67" y="426"/>
                    </a:cubicBezTo>
                    <a:cubicBezTo>
                      <a:pt x="73" y="431"/>
                      <a:pt x="73" y="431"/>
                      <a:pt x="73" y="431"/>
                    </a:cubicBezTo>
                    <a:cubicBezTo>
                      <a:pt x="72" y="440"/>
                      <a:pt x="72" y="440"/>
                      <a:pt x="72" y="440"/>
                    </a:cubicBezTo>
                    <a:cubicBezTo>
                      <a:pt x="76" y="443"/>
                      <a:pt x="76" y="443"/>
                      <a:pt x="76" y="443"/>
                    </a:cubicBezTo>
                    <a:cubicBezTo>
                      <a:pt x="75" y="458"/>
                      <a:pt x="75" y="458"/>
                      <a:pt x="75" y="458"/>
                    </a:cubicBezTo>
                    <a:cubicBezTo>
                      <a:pt x="70" y="460"/>
                      <a:pt x="70" y="460"/>
                      <a:pt x="70" y="460"/>
                    </a:cubicBezTo>
                    <a:cubicBezTo>
                      <a:pt x="73" y="472"/>
                      <a:pt x="73" y="472"/>
                      <a:pt x="73" y="472"/>
                    </a:cubicBezTo>
                    <a:cubicBezTo>
                      <a:pt x="73" y="472"/>
                      <a:pt x="77" y="471"/>
                      <a:pt x="80" y="473"/>
                    </a:cubicBezTo>
                    <a:cubicBezTo>
                      <a:pt x="82" y="475"/>
                      <a:pt x="77" y="483"/>
                      <a:pt x="77" y="483"/>
                    </a:cubicBezTo>
                    <a:cubicBezTo>
                      <a:pt x="74" y="478"/>
                      <a:pt x="74" y="478"/>
                      <a:pt x="74" y="478"/>
                    </a:cubicBezTo>
                    <a:cubicBezTo>
                      <a:pt x="69" y="504"/>
                      <a:pt x="69" y="504"/>
                      <a:pt x="69" y="504"/>
                    </a:cubicBezTo>
                    <a:cubicBezTo>
                      <a:pt x="73" y="509"/>
                      <a:pt x="73" y="509"/>
                      <a:pt x="73" y="509"/>
                    </a:cubicBezTo>
                    <a:cubicBezTo>
                      <a:pt x="69" y="515"/>
                      <a:pt x="69" y="515"/>
                      <a:pt x="69" y="515"/>
                    </a:cubicBezTo>
                    <a:cubicBezTo>
                      <a:pt x="69" y="515"/>
                      <a:pt x="73" y="518"/>
                      <a:pt x="73" y="519"/>
                    </a:cubicBezTo>
                    <a:cubicBezTo>
                      <a:pt x="73" y="521"/>
                      <a:pt x="68" y="520"/>
                      <a:pt x="68" y="520"/>
                    </a:cubicBezTo>
                    <a:cubicBezTo>
                      <a:pt x="66" y="523"/>
                      <a:pt x="66" y="523"/>
                      <a:pt x="66" y="523"/>
                    </a:cubicBezTo>
                    <a:cubicBezTo>
                      <a:pt x="71" y="531"/>
                      <a:pt x="71" y="531"/>
                      <a:pt x="71" y="531"/>
                    </a:cubicBezTo>
                    <a:cubicBezTo>
                      <a:pt x="71" y="531"/>
                      <a:pt x="74" y="525"/>
                      <a:pt x="76" y="525"/>
                    </a:cubicBezTo>
                    <a:cubicBezTo>
                      <a:pt x="79" y="525"/>
                      <a:pt x="81" y="536"/>
                      <a:pt x="81" y="536"/>
                    </a:cubicBezTo>
                    <a:cubicBezTo>
                      <a:pt x="81" y="536"/>
                      <a:pt x="85" y="534"/>
                      <a:pt x="87" y="534"/>
                    </a:cubicBezTo>
                    <a:cubicBezTo>
                      <a:pt x="89" y="534"/>
                      <a:pt x="93" y="535"/>
                      <a:pt x="93" y="535"/>
                    </a:cubicBezTo>
                    <a:cubicBezTo>
                      <a:pt x="104" y="525"/>
                      <a:pt x="104" y="525"/>
                      <a:pt x="104" y="525"/>
                    </a:cubicBezTo>
                    <a:cubicBezTo>
                      <a:pt x="103" y="521"/>
                      <a:pt x="103" y="521"/>
                      <a:pt x="103" y="521"/>
                    </a:cubicBezTo>
                    <a:cubicBezTo>
                      <a:pt x="103" y="521"/>
                      <a:pt x="105" y="517"/>
                      <a:pt x="113" y="516"/>
                    </a:cubicBezTo>
                    <a:cubicBezTo>
                      <a:pt x="119" y="516"/>
                      <a:pt x="123" y="520"/>
                      <a:pt x="123" y="520"/>
                    </a:cubicBezTo>
                    <a:cubicBezTo>
                      <a:pt x="131" y="523"/>
                      <a:pt x="131" y="523"/>
                      <a:pt x="131" y="523"/>
                    </a:cubicBezTo>
                    <a:cubicBezTo>
                      <a:pt x="134" y="511"/>
                      <a:pt x="134" y="511"/>
                      <a:pt x="134" y="511"/>
                    </a:cubicBezTo>
                    <a:cubicBezTo>
                      <a:pt x="137" y="508"/>
                      <a:pt x="137" y="508"/>
                      <a:pt x="137" y="508"/>
                    </a:cubicBezTo>
                    <a:cubicBezTo>
                      <a:pt x="134" y="501"/>
                      <a:pt x="134" y="501"/>
                      <a:pt x="134" y="501"/>
                    </a:cubicBezTo>
                    <a:cubicBezTo>
                      <a:pt x="140" y="458"/>
                      <a:pt x="140" y="458"/>
                      <a:pt x="140" y="458"/>
                    </a:cubicBezTo>
                    <a:cubicBezTo>
                      <a:pt x="140" y="458"/>
                      <a:pt x="136" y="452"/>
                      <a:pt x="137" y="446"/>
                    </a:cubicBezTo>
                    <a:cubicBezTo>
                      <a:pt x="137" y="440"/>
                      <a:pt x="148" y="430"/>
                      <a:pt x="148" y="430"/>
                    </a:cubicBezTo>
                    <a:cubicBezTo>
                      <a:pt x="138" y="412"/>
                      <a:pt x="138" y="412"/>
                      <a:pt x="138" y="412"/>
                    </a:cubicBezTo>
                    <a:lnTo>
                      <a:pt x="142" y="408"/>
                    </a:lnTo>
                    <a:close/>
                    <a:moveTo>
                      <a:pt x="63" y="515"/>
                    </a:moveTo>
                    <a:cubicBezTo>
                      <a:pt x="55" y="516"/>
                      <a:pt x="63" y="520"/>
                      <a:pt x="63" y="520"/>
                    </a:cubicBezTo>
                    <a:cubicBezTo>
                      <a:pt x="70" y="520"/>
                      <a:pt x="71" y="514"/>
                      <a:pt x="63" y="515"/>
                    </a:cubicBezTo>
                    <a:close/>
                    <a:moveTo>
                      <a:pt x="70" y="394"/>
                    </a:moveTo>
                    <a:cubicBezTo>
                      <a:pt x="75" y="390"/>
                      <a:pt x="71" y="383"/>
                      <a:pt x="68" y="390"/>
                    </a:cubicBezTo>
                    <a:cubicBezTo>
                      <a:pt x="65" y="396"/>
                      <a:pt x="70" y="394"/>
                      <a:pt x="70" y="394"/>
                    </a:cubicBezTo>
                    <a:close/>
                    <a:moveTo>
                      <a:pt x="261" y="671"/>
                    </a:moveTo>
                    <a:cubicBezTo>
                      <a:pt x="255" y="666"/>
                      <a:pt x="256" y="671"/>
                      <a:pt x="256" y="671"/>
                    </a:cubicBezTo>
                    <a:cubicBezTo>
                      <a:pt x="256" y="675"/>
                      <a:pt x="256" y="675"/>
                      <a:pt x="256" y="675"/>
                    </a:cubicBezTo>
                    <a:cubicBezTo>
                      <a:pt x="264" y="678"/>
                      <a:pt x="266" y="675"/>
                      <a:pt x="261" y="671"/>
                    </a:cubicBezTo>
                    <a:close/>
                    <a:moveTo>
                      <a:pt x="277" y="598"/>
                    </a:moveTo>
                    <a:cubicBezTo>
                      <a:pt x="271" y="597"/>
                      <a:pt x="271" y="599"/>
                      <a:pt x="271" y="599"/>
                    </a:cubicBezTo>
                    <a:cubicBezTo>
                      <a:pt x="274" y="600"/>
                      <a:pt x="274" y="600"/>
                      <a:pt x="274" y="600"/>
                    </a:cubicBezTo>
                    <a:cubicBezTo>
                      <a:pt x="277" y="601"/>
                      <a:pt x="281" y="598"/>
                      <a:pt x="277" y="598"/>
                    </a:cubicBezTo>
                    <a:close/>
                    <a:moveTo>
                      <a:pt x="413" y="564"/>
                    </a:moveTo>
                    <a:cubicBezTo>
                      <a:pt x="415" y="564"/>
                      <a:pt x="418" y="562"/>
                      <a:pt x="413" y="562"/>
                    </a:cubicBezTo>
                    <a:cubicBezTo>
                      <a:pt x="409" y="562"/>
                      <a:pt x="413" y="564"/>
                      <a:pt x="413" y="564"/>
                    </a:cubicBezTo>
                    <a:close/>
                    <a:moveTo>
                      <a:pt x="263" y="595"/>
                    </a:moveTo>
                    <a:cubicBezTo>
                      <a:pt x="261" y="595"/>
                      <a:pt x="261" y="598"/>
                      <a:pt x="261" y="598"/>
                    </a:cubicBezTo>
                    <a:cubicBezTo>
                      <a:pt x="264" y="599"/>
                      <a:pt x="265" y="596"/>
                      <a:pt x="263" y="595"/>
                    </a:cubicBezTo>
                    <a:close/>
                    <a:moveTo>
                      <a:pt x="589" y="436"/>
                    </a:moveTo>
                    <a:cubicBezTo>
                      <a:pt x="585" y="435"/>
                      <a:pt x="585" y="435"/>
                      <a:pt x="585" y="435"/>
                    </a:cubicBezTo>
                    <a:cubicBezTo>
                      <a:pt x="581" y="427"/>
                      <a:pt x="581" y="427"/>
                      <a:pt x="581" y="427"/>
                    </a:cubicBezTo>
                    <a:cubicBezTo>
                      <a:pt x="573" y="416"/>
                      <a:pt x="573" y="416"/>
                      <a:pt x="573" y="416"/>
                    </a:cubicBezTo>
                    <a:cubicBezTo>
                      <a:pt x="567" y="417"/>
                      <a:pt x="567" y="417"/>
                      <a:pt x="567" y="417"/>
                    </a:cubicBezTo>
                    <a:cubicBezTo>
                      <a:pt x="560" y="410"/>
                      <a:pt x="560" y="410"/>
                      <a:pt x="560" y="410"/>
                    </a:cubicBezTo>
                    <a:cubicBezTo>
                      <a:pt x="560" y="410"/>
                      <a:pt x="562" y="407"/>
                      <a:pt x="558" y="405"/>
                    </a:cubicBezTo>
                    <a:cubicBezTo>
                      <a:pt x="552" y="402"/>
                      <a:pt x="549" y="402"/>
                      <a:pt x="549" y="402"/>
                    </a:cubicBezTo>
                    <a:cubicBezTo>
                      <a:pt x="543" y="398"/>
                      <a:pt x="543" y="398"/>
                      <a:pt x="543" y="398"/>
                    </a:cubicBezTo>
                    <a:cubicBezTo>
                      <a:pt x="540" y="399"/>
                      <a:pt x="540" y="399"/>
                      <a:pt x="540" y="399"/>
                    </a:cubicBezTo>
                    <a:cubicBezTo>
                      <a:pt x="528" y="394"/>
                      <a:pt x="528" y="394"/>
                      <a:pt x="528" y="394"/>
                    </a:cubicBezTo>
                    <a:cubicBezTo>
                      <a:pt x="525" y="390"/>
                      <a:pt x="525" y="390"/>
                      <a:pt x="525" y="390"/>
                    </a:cubicBezTo>
                    <a:cubicBezTo>
                      <a:pt x="516" y="386"/>
                      <a:pt x="516" y="386"/>
                      <a:pt x="516" y="386"/>
                    </a:cubicBezTo>
                    <a:cubicBezTo>
                      <a:pt x="513" y="383"/>
                      <a:pt x="513" y="383"/>
                      <a:pt x="513" y="383"/>
                    </a:cubicBezTo>
                    <a:cubicBezTo>
                      <a:pt x="492" y="377"/>
                      <a:pt x="492" y="377"/>
                      <a:pt x="492" y="377"/>
                    </a:cubicBezTo>
                    <a:cubicBezTo>
                      <a:pt x="489" y="378"/>
                      <a:pt x="489" y="378"/>
                      <a:pt x="489" y="378"/>
                    </a:cubicBezTo>
                    <a:cubicBezTo>
                      <a:pt x="472" y="369"/>
                      <a:pt x="472" y="369"/>
                      <a:pt x="472" y="369"/>
                    </a:cubicBezTo>
                    <a:cubicBezTo>
                      <a:pt x="467" y="369"/>
                      <a:pt x="467" y="369"/>
                      <a:pt x="467" y="369"/>
                    </a:cubicBezTo>
                    <a:cubicBezTo>
                      <a:pt x="467" y="369"/>
                      <a:pt x="450" y="361"/>
                      <a:pt x="448" y="357"/>
                    </a:cubicBezTo>
                    <a:cubicBezTo>
                      <a:pt x="447" y="352"/>
                      <a:pt x="451" y="349"/>
                      <a:pt x="454" y="347"/>
                    </a:cubicBezTo>
                    <a:cubicBezTo>
                      <a:pt x="458" y="345"/>
                      <a:pt x="462" y="341"/>
                      <a:pt x="462" y="341"/>
                    </a:cubicBezTo>
                    <a:cubicBezTo>
                      <a:pt x="461" y="334"/>
                      <a:pt x="461" y="334"/>
                      <a:pt x="461" y="334"/>
                    </a:cubicBezTo>
                    <a:cubicBezTo>
                      <a:pt x="461" y="334"/>
                      <a:pt x="457" y="330"/>
                      <a:pt x="452" y="330"/>
                    </a:cubicBezTo>
                    <a:cubicBezTo>
                      <a:pt x="448" y="329"/>
                      <a:pt x="437" y="332"/>
                      <a:pt x="432" y="333"/>
                    </a:cubicBezTo>
                    <a:cubicBezTo>
                      <a:pt x="407" y="333"/>
                      <a:pt x="407" y="333"/>
                      <a:pt x="407" y="333"/>
                    </a:cubicBezTo>
                    <a:cubicBezTo>
                      <a:pt x="405" y="331"/>
                      <a:pt x="405" y="331"/>
                      <a:pt x="405" y="331"/>
                    </a:cubicBezTo>
                    <a:cubicBezTo>
                      <a:pt x="390" y="323"/>
                      <a:pt x="390" y="323"/>
                      <a:pt x="390" y="323"/>
                    </a:cubicBezTo>
                    <a:cubicBezTo>
                      <a:pt x="388" y="318"/>
                      <a:pt x="388" y="318"/>
                      <a:pt x="388" y="318"/>
                    </a:cubicBezTo>
                    <a:cubicBezTo>
                      <a:pt x="380" y="316"/>
                      <a:pt x="380" y="316"/>
                      <a:pt x="380" y="316"/>
                    </a:cubicBezTo>
                    <a:cubicBezTo>
                      <a:pt x="371" y="306"/>
                      <a:pt x="371" y="306"/>
                      <a:pt x="371" y="306"/>
                    </a:cubicBezTo>
                    <a:cubicBezTo>
                      <a:pt x="366" y="304"/>
                      <a:pt x="366" y="304"/>
                      <a:pt x="366" y="304"/>
                    </a:cubicBezTo>
                    <a:cubicBezTo>
                      <a:pt x="363" y="300"/>
                      <a:pt x="363" y="300"/>
                      <a:pt x="363" y="300"/>
                    </a:cubicBezTo>
                    <a:cubicBezTo>
                      <a:pt x="356" y="296"/>
                      <a:pt x="356" y="296"/>
                      <a:pt x="356" y="296"/>
                    </a:cubicBezTo>
                    <a:cubicBezTo>
                      <a:pt x="350" y="285"/>
                      <a:pt x="350" y="285"/>
                      <a:pt x="350" y="285"/>
                    </a:cubicBezTo>
                    <a:cubicBezTo>
                      <a:pt x="350" y="278"/>
                      <a:pt x="350" y="278"/>
                      <a:pt x="350" y="278"/>
                    </a:cubicBezTo>
                    <a:cubicBezTo>
                      <a:pt x="346" y="273"/>
                      <a:pt x="346" y="273"/>
                      <a:pt x="346" y="273"/>
                    </a:cubicBezTo>
                    <a:cubicBezTo>
                      <a:pt x="346" y="273"/>
                      <a:pt x="346" y="262"/>
                      <a:pt x="343" y="257"/>
                    </a:cubicBezTo>
                    <a:cubicBezTo>
                      <a:pt x="341" y="252"/>
                      <a:pt x="332" y="235"/>
                      <a:pt x="332" y="235"/>
                    </a:cubicBezTo>
                    <a:cubicBezTo>
                      <a:pt x="333" y="233"/>
                      <a:pt x="333" y="233"/>
                      <a:pt x="333" y="233"/>
                    </a:cubicBezTo>
                    <a:cubicBezTo>
                      <a:pt x="327" y="230"/>
                      <a:pt x="327" y="230"/>
                      <a:pt x="327" y="230"/>
                    </a:cubicBezTo>
                    <a:cubicBezTo>
                      <a:pt x="318" y="227"/>
                      <a:pt x="318" y="227"/>
                      <a:pt x="318" y="227"/>
                    </a:cubicBezTo>
                    <a:cubicBezTo>
                      <a:pt x="297" y="209"/>
                      <a:pt x="297" y="209"/>
                      <a:pt x="297" y="209"/>
                    </a:cubicBezTo>
                    <a:cubicBezTo>
                      <a:pt x="287" y="206"/>
                      <a:pt x="287" y="206"/>
                      <a:pt x="287" y="206"/>
                    </a:cubicBezTo>
                    <a:cubicBezTo>
                      <a:pt x="271" y="189"/>
                      <a:pt x="271" y="189"/>
                      <a:pt x="271" y="189"/>
                    </a:cubicBezTo>
                    <a:cubicBezTo>
                      <a:pt x="268" y="164"/>
                      <a:pt x="268" y="164"/>
                      <a:pt x="268" y="164"/>
                    </a:cubicBezTo>
                    <a:cubicBezTo>
                      <a:pt x="265" y="160"/>
                      <a:pt x="265" y="160"/>
                      <a:pt x="265" y="160"/>
                    </a:cubicBezTo>
                    <a:cubicBezTo>
                      <a:pt x="270" y="148"/>
                      <a:pt x="270" y="148"/>
                      <a:pt x="270" y="148"/>
                    </a:cubicBezTo>
                    <a:cubicBezTo>
                      <a:pt x="270" y="148"/>
                      <a:pt x="277" y="146"/>
                      <a:pt x="278" y="141"/>
                    </a:cubicBezTo>
                    <a:cubicBezTo>
                      <a:pt x="279" y="136"/>
                      <a:pt x="269" y="134"/>
                      <a:pt x="269" y="134"/>
                    </a:cubicBezTo>
                    <a:cubicBezTo>
                      <a:pt x="269" y="134"/>
                      <a:pt x="269" y="129"/>
                      <a:pt x="267" y="127"/>
                    </a:cubicBezTo>
                    <a:cubicBezTo>
                      <a:pt x="266" y="124"/>
                      <a:pt x="261" y="121"/>
                      <a:pt x="261" y="121"/>
                    </a:cubicBezTo>
                    <a:cubicBezTo>
                      <a:pt x="261" y="121"/>
                      <a:pt x="265" y="118"/>
                      <a:pt x="266" y="117"/>
                    </a:cubicBezTo>
                    <a:cubicBezTo>
                      <a:pt x="268" y="116"/>
                      <a:pt x="267" y="111"/>
                      <a:pt x="267" y="111"/>
                    </a:cubicBezTo>
                    <a:cubicBezTo>
                      <a:pt x="271" y="109"/>
                      <a:pt x="271" y="109"/>
                      <a:pt x="271" y="109"/>
                    </a:cubicBezTo>
                    <a:cubicBezTo>
                      <a:pt x="271" y="111"/>
                      <a:pt x="271" y="111"/>
                      <a:pt x="271" y="111"/>
                    </a:cubicBezTo>
                    <a:cubicBezTo>
                      <a:pt x="271" y="111"/>
                      <a:pt x="281" y="109"/>
                      <a:pt x="286" y="106"/>
                    </a:cubicBezTo>
                    <a:cubicBezTo>
                      <a:pt x="293" y="102"/>
                      <a:pt x="296" y="97"/>
                      <a:pt x="296" y="97"/>
                    </a:cubicBezTo>
                    <a:cubicBezTo>
                      <a:pt x="303" y="97"/>
                      <a:pt x="303" y="97"/>
                      <a:pt x="303" y="97"/>
                    </a:cubicBezTo>
                    <a:cubicBezTo>
                      <a:pt x="306" y="94"/>
                      <a:pt x="306" y="94"/>
                      <a:pt x="306" y="94"/>
                    </a:cubicBezTo>
                    <a:cubicBezTo>
                      <a:pt x="302" y="93"/>
                      <a:pt x="302" y="93"/>
                      <a:pt x="302" y="93"/>
                    </a:cubicBezTo>
                    <a:cubicBezTo>
                      <a:pt x="305" y="89"/>
                      <a:pt x="305" y="89"/>
                      <a:pt x="305" y="89"/>
                    </a:cubicBezTo>
                    <a:cubicBezTo>
                      <a:pt x="323" y="93"/>
                      <a:pt x="323" y="93"/>
                      <a:pt x="323" y="93"/>
                    </a:cubicBezTo>
                    <a:cubicBezTo>
                      <a:pt x="322" y="90"/>
                      <a:pt x="322" y="90"/>
                      <a:pt x="322" y="90"/>
                    </a:cubicBezTo>
                    <a:cubicBezTo>
                      <a:pt x="322" y="90"/>
                      <a:pt x="326" y="90"/>
                      <a:pt x="329" y="91"/>
                    </a:cubicBezTo>
                    <a:cubicBezTo>
                      <a:pt x="332" y="91"/>
                      <a:pt x="334" y="99"/>
                      <a:pt x="334" y="99"/>
                    </a:cubicBezTo>
                    <a:cubicBezTo>
                      <a:pt x="334" y="99"/>
                      <a:pt x="339" y="96"/>
                      <a:pt x="339" y="92"/>
                    </a:cubicBezTo>
                    <a:cubicBezTo>
                      <a:pt x="339" y="86"/>
                      <a:pt x="327" y="86"/>
                      <a:pt x="327" y="86"/>
                    </a:cubicBezTo>
                    <a:cubicBezTo>
                      <a:pt x="327" y="86"/>
                      <a:pt x="331" y="75"/>
                      <a:pt x="330" y="73"/>
                    </a:cubicBezTo>
                    <a:cubicBezTo>
                      <a:pt x="329" y="70"/>
                      <a:pt x="321" y="76"/>
                      <a:pt x="321" y="76"/>
                    </a:cubicBezTo>
                    <a:cubicBezTo>
                      <a:pt x="320" y="70"/>
                      <a:pt x="320" y="70"/>
                      <a:pt x="320" y="70"/>
                    </a:cubicBezTo>
                    <a:cubicBezTo>
                      <a:pt x="320" y="70"/>
                      <a:pt x="330" y="65"/>
                      <a:pt x="330" y="61"/>
                    </a:cubicBezTo>
                    <a:cubicBezTo>
                      <a:pt x="329" y="55"/>
                      <a:pt x="319" y="59"/>
                      <a:pt x="319" y="59"/>
                    </a:cubicBezTo>
                    <a:cubicBezTo>
                      <a:pt x="316" y="53"/>
                      <a:pt x="316" y="53"/>
                      <a:pt x="316" y="53"/>
                    </a:cubicBezTo>
                    <a:cubicBezTo>
                      <a:pt x="326" y="44"/>
                      <a:pt x="326" y="44"/>
                      <a:pt x="326" y="44"/>
                    </a:cubicBezTo>
                    <a:cubicBezTo>
                      <a:pt x="331" y="44"/>
                      <a:pt x="331" y="44"/>
                      <a:pt x="331" y="44"/>
                    </a:cubicBezTo>
                    <a:cubicBezTo>
                      <a:pt x="332" y="43"/>
                      <a:pt x="331" y="39"/>
                      <a:pt x="330" y="38"/>
                    </a:cubicBezTo>
                    <a:cubicBezTo>
                      <a:pt x="315" y="35"/>
                      <a:pt x="315" y="35"/>
                      <a:pt x="315" y="35"/>
                    </a:cubicBezTo>
                    <a:cubicBezTo>
                      <a:pt x="309" y="37"/>
                      <a:pt x="309" y="37"/>
                      <a:pt x="309" y="37"/>
                    </a:cubicBezTo>
                    <a:cubicBezTo>
                      <a:pt x="306" y="34"/>
                      <a:pt x="306" y="34"/>
                      <a:pt x="306" y="34"/>
                    </a:cubicBezTo>
                    <a:cubicBezTo>
                      <a:pt x="290" y="34"/>
                      <a:pt x="290" y="34"/>
                      <a:pt x="290" y="34"/>
                    </a:cubicBezTo>
                    <a:cubicBezTo>
                      <a:pt x="288" y="31"/>
                      <a:pt x="288" y="31"/>
                      <a:pt x="288" y="31"/>
                    </a:cubicBezTo>
                    <a:cubicBezTo>
                      <a:pt x="271" y="30"/>
                      <a:pt x="271" y="30"/>
                      <a:pt x="271" y="30"/>
                    </a:cubicBezTo>
                    <a:cubicBezTo>
                      <a:pt x="268" y="22"/>
                      <a:pt x="268" y="22"/>
                      <a:pt x="268" y="22"/>
                    </a:cubicBezTo>
                    <a:cubicBezTo>
                      <a:pt x="265" y="21"/>
                      <a:pt x="265" y="21"/>
                      <a:pt x="265" y="21"/>
                    </a:cubicBezTo>
                    <a:cubicBezTo>
                      <a:pt x="265" y="21"/>
                      <a:pt x="266" y="17"/>
                      <a:pt x="264" y="16"/>
                    </a:cubicBezTo>
                    <a:cubicBezTo>
                      <a:pt x="262" y="15"/>
                      <a:pt x="260" y="17"/>
                      <a:pt x="260" y="17"/>
                    </a:cubicBezTo>
                    <a:cubicBezTo>
                      <a:pt x="257" y="8"/>
                      <a:pt x="257" y="8"/>
                      <a:pt x="257" y="8"/>
                    </a:cubicBezTo>
                    <a:cubicBezTo>
                      <a:pt x="257" y="8"/>
                      <a:pt x="264" y="4"/>
                      <a:pt x="262" y="2"/>
                    </a:cubicBezTo>
                    <a:cubicBezTo>
                      <a:pt x="260" y="0"/>
                      <a:pt x="254" y="6"/>
                      <a:pt x="254" y="6"/>
                    </a:cubicBezTo>
                    <a:cubicBezTo>
                      <a:pt x="250" y="4"/>
                      <a:pt x="250" y="4"/>
                      <a:pt x="250" y="4"/>
                    </a:cubicBezTo>
                    <a:cubicBezTo>
                      <a:pt x="241" y="13"/>
                      <a:pt x="241" y="13"/>
                      <a:pt x="241" y="13"/>
                    </a:cubicBezTo>
                    <a:cubicBezTo>
                      <a:pt x="227" y="7"/>
                      <a:pt x="227" y="7"/>
                      <a:pt x="227" y="7"/>
                    </a:cubicBezTo>
                    <a:cubicBezTo>
                      <a:pt x="224" y="12"/>
                      <a:pt x="224" y="12"/>
                      <a:pt x="224" y="12"/>
                    </a:cubicBezTo>
                    <a:cubicBezTo>
                      <a:pt x="224" y="12"/>
                      <a:pt x="222" y="11"/>
                      <a:pt x="213" y="12"/>
                    </a:cubicBezTo>
                    <a:cubicBezTo>
                      <a:pt x="204" y="13"/>
                      <a:pt x="210" y="21"/>
                      <a:pt x="210" y="21"/>
                    </a:cubicBezTo>
                    <a:cubicBezTo>
                      <a:pt x="206" y="26"/>
                      <a:pt x="206" y="26"/>
                      <a:pt x="206" y="26"/>
                    </a:cubicBezTo>
                    <a:cubicBezTo>
                      <a:pt x="194" y="23"/>
                      <a:pt x="194" y="23"/>
                      <a:pt x="194" y="23"/>
                    </a:cubicBezTo>
                    <a:cubicBezTo>
                      <a:pt x="194" y="23"/>
                      <a:pt x="194" y="19"/>
                      <a:pt x="190" y="17"/>
                    </a:cubicBezTo>
                    <a:cubicBezTo>
                      <a:pt x="187" y="16"/>
                      <a:pt x="185" y="20"/>
                      <a:pt x="185" y="20"/>
                    </a:cubicBezTo>
                    <a:cubicBezTo>
                      <a:pt x="182" y="20"/>
                      <a:pt x="182" y="20"/>
                      <a:pt x="182" y="20"/>
                    </a:cubicBezTo>
                    <a:cubicBezTo>
                      <a:pt x="179" y="34"/>
                      <a:pt x="179" y="34"/>
                      <a:pt x="179" y="34"/>
                    </a:cubicBezTo>
                    <a:cubicBezTo>
                      <a:pt x="182" y="34"/>
                      <a:pt x="182" y="34"/>
                      <a:pt x="182" y="34"/>
                    </a:cubicBezTo>
                    <a:cubicBezTo>
                      <a:pt x="182" y="41"/>
                      <a:pt x="182" y="41"/>
                      <a:pt x="182" y="41"/>
                    </a:cubicBezTo>
                    <a:cubicBezTo>
                      <a:pt x="172" y="38"/>
                      <a:pt x="172" y="38"/>
                      <a:pt x="172" y="38"/>
                    </a:cubicBezTo>
                    <a:cubicBezTo>
                      <a:pt x="171" y="32"/>
                      <a:pt x="171" y="32"/>
                      <a:pt x="171" y="32"/>
                    </a:cubicBezTo>
                    <a:cubicBezTo>
                      <a:pt x="171" y="32"/>
                      <a:pt x="169" y="31"/>
                      <a:pt x="163" y="37"/>
                    </a:cubicBezTo>
                    <a:cubicBezTo>
                      <a:pt x="157" y="43"/>
                      <a:pt x="163" y="47"/>
                      <a:pt x="163" y="47"/>
                    </a:cubicBezTo>
                    <a:cubicBezTo>
                      <a:pt x="166" y="47"/>
                      <a:pt x="166" y="47"/>
                      <a:pt x="166" y="47"/>
                    </a:cubicBezTo>
                    <a:cubicBezTo>
                      <a:pt x="168" y="48"/>
                      <a:pt x="168" y="48"/>
                      <a:pt x="168" y="48"/>
                    </a:cubicBezTo>
                    <a:cubicBezTo>
                      <a:pt x="165" y="53"/>
                      <a:pt x="165" y="53"/>
                      <a:pt x="165" y="53"/>
                    </a:cubicBezTo>
                    <a:cubicBezTo>
                      <a:pt x="165" y="60"/>
                      <a:pt x="165" y="60"/>
                      <a:pt x="165" y="60"/>
                    </a:cubicBezTo>
                    <a:cubicBezTo>
                      <a:pt x="163" y="60"/>
                      <a:pt x="163" y="60"/>
                      <a:pt x="163" y="60"/>
                    </a:cubicBezTo>
                    <a:cubicBezTo>
                      <a:pt x="162" y="58"/>
                      <a:pt x="162" y="58"/>
                      <a:pt x="162" y="58"/>
                    </a:cubicBezTo>
                    <a:cubicBezTo>
                      <a:pt x="159" y="54"/>
                      <a:pt x="159" y="54"/>
                      <a:pt x="159" y="54"/>
                    </a:cubicBezTo>
                    <a:cubicBezTo>
                      <a:pt x="157" y="50"/>
                      <a:pt x="157" y="50"/>
                      <a:pt x="157" y="50"/>
                    </a:cubicBezTo>
                    <a:cubicBezTo>
                      <a:pt x="148" y="52"/>
                      <a:pt x="148" y="52"/>
                      <a:pt x="148" y="52"/>
                    </a:cubicBezTo>
                    <a:cubicBezTo>
                      <a:pt x="148" y="52"/>
                      <a:pt x="145" y="57"/>
                      <a:pt x="139" y="54"/>
                    </a:cubicBezTo>
                    <a:cubicBezTo>
                      <a:pt x="134" y="51"/>
                      <a:pt x="135" y="41"/>
                      <a:pt x="135" y="41"/>
                    </a:cubicBezTo>
                    <a:cubicBezTo>
                      <a:pt x="132" y="43"/>
                      <a:pt x="132" y="43"/>
                      <a:pt x="132" y="43"/>
                    </a:cubicBezTo>
                    <a:cubicBezTo>
                      <a:pt x="128" y="41"/>
                      <a:pt x="128" y="41"/>
                      <a:pt x="128" y="41"/>
                    </a:cubicBezTo>
                    <a:cubicBezTo>
                      <a:pt x="125" y="46"/>
                      <a:pt x="125" y="46"/>
                      <a:pt x="125" y="46"/>
                    </a:cubicBezTo>
                    <a:cubicBezTo>
                      <a:pt x="128" y="48"/>
                      <a:pt x="128" y="48"/>
                      <a:pt x="128" y="48"/>
                    </a:cubicBezTo>
                    <a:cubicBezTo>
                      <a:pt x="128" y="48"/>
                      <a:pt x="128" y="51"/>
                      <a:pt x="125" y="57"/>
                    </a:cubicBezTo>
                    <a:cubicBezTo>
                      <a:pt x="123" y="62"/>
                      <a:pt x="117" y="66"/>
                      <a:pt x="117" y="66"/>
                    </a:cubicBezTo>
                    <a:cubicBezTo>
                      <a:pt x="116" y="69"/>
                      <a:pt x="116" y="69"/>
                      <a:pt x="116" y="69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3" y="77"/>
                      <a:pt x="113" y="77"/>
                      <a:pt x="113" y="77"/>
                    </a:cubicBezTo>
                    <a:cubicBezTo>
                      <a:pt x="115" y="79"/>
                      <a:pt x="115" y="79"/>
                      <a:pt x="115" y="79"/>
                    </a:cubicBezTo>
                    <a:cubicBezTo>
                      <a:pt x="114" y="84"/>
                      <a:pt x="114" y="84"/>
                      <a:pt x="114" y="84"/>
                    </a:cubicBezTo>
                    <a:cubicBezTo>
                      <a:pt x="110" y="83"/>
                      <a:pt x="110" y="83"/>
                      <a:pt x="110" y="83"/>
                    </a:cubicBezTo>
                    <a:cubicBezTo>
                      <a:pt x="106" y="74"/>
                      <a:pt x="106" y="74"/>
                      <a:pt x="106" y="74"/>
                    </a:cubicBezTo>
                    <a:cubicBezTo>
                      <a:pt x="104" y="71"/>
                      <a:pt x="104" y="71"/>
                      <a:pt x="104" y="71"/>
                    </a:cubicBezTo>
                    <a:cubicBezTo>
                      <a:pt x="107" y="69"/>
                      <a:pt x="107" y="69"/>
                      <a:pt x="107" y="69"/>
                    </a:cubicBezTo>
                    <a:cubicBezTo>
                      <a:pt x="104" y="66"/>
                      <a:pt x="104" y="66"/>
                      <a:pt x="104" y="66"/>
                    </a:cubicBezTo>
                    <a:cubicBezTo>
                      <a:pt x="104" y="66"/>
                      <a:pt x="99" y="67"/>
                      <a:pt x="96" y="65"/>
                    </a:cubicBezTo>
                    <a:cubicBezTo>
                      <a:pt x="92" y="63"/>
                      <a:pt x="93" y="61"/>
                      <a:pt x="93" y="60"/>
                    </a:cubicBezTo>
                    <a:cubicBezTo>
                      <a:pt x="93" y="59"/>
                      <a:pt x="89" y="58"/>
                      <a:pt x="87" y="54"/>
                    </a:cubicBezTo>
                    <a:cubicBezTo>
                      <a:pt x="85" y="51"/>
                      <a:pt x="91" y="45"/>
                      <a:pt x="91" y="45"/>
                    </a:cubicBezTo>
                    <a:cubicBezTo>
                      <a:pt x="87" y="43"/>
                      <a:pt x="87" y="43"/>
                      <a:pt x="87" y="43"/>
                    </a:cubicBezTo>
                    <a:cubicBezTo>
                      <a:pt x="80" y="45"/>
                      <a:pt x="80" y="45"/>
                      <a:pt x="80" y="45"/>
                    </a:cubicBezTo>
                    <a:cubicBezTo>
                      <a:pt x="82" y="48"/>
                      <a:pt x="82" y="48"/>
                      <a:pt x="82" y="48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4" y="51"/>
                      <a:pt x="74" y="51"/>
                      <a:pt x="74" y="51"/>
                    </a:cubicBezTo>
                    <a:cubicBezTo>
                      <a:pt x="72" y="54"/>
                      <a:pt x="72" y="54"/>
                      <a:pt x="72" y="54"/>
                    </a:cubicBezTo>
                    <a:cubicBezTo>
                      <a:pt x="75" y="62"/>
                      <a:pt x="75" y="62"/>
                      <a:pt x="75" y="62"/>
                    </a:cubicBezTo>
                    <a:cubicBezTo>
                      <a:pt x="75" y="62"/>
                      <a:pt x="72" y="65"/>
                      <a:pt x="69" y="66"/>
                    </a:cubicBezTo>
                    <a:cubicBezTo>
                      <a:pt x="67" y="67"/>
                      <a:pt x="68" y="70"/>
                      <a:pt x="67" y="71"/>
                    </a:cubicBezTo>
                    <a:cubicBezTo>
                      <a:pt x="66" y="73"/>
                      <a:pt x="63" y="73"/>
                      <a:pt x="61" y="73"/>
                    </a:cubicBezTo>
                    <a:cubicBezTo>
                      <a:pt x="60" y="73"/>
                      <a:pt x="61" y="77"/>
                      <a:pt x="57" y="77"/>
                    </a:cubicBezTo>
                    <a:cubicBezTo>
                      <a:pt x="54" y="77"/>
                      <a:pt x="47" y="71"/>
                      <a:pt x="46" y="71"/>
                    </a:cubicBezTo>
                    <a:cubicBezTo>
                      <a:pt x="43" y="71"/>
                      <a:pt x="42" y="76"/>
                      <a:pt x="39" y="76"/>
                    </a:cubicBezTo>
                    <a:cubicBezTo>
                      <a:pt x="36" y="77"/>
                      <a:pt x="35" y="76"/>
                      <a:pt x="33" y="75"/>
                    </a:cubicBezTo>
                    <a:cubicBezTo>
                      <a:pt x="32" y="75"/>
                      <a:pt x="32" y="78"/>
                      <a:pt x="27" y="79"/>
                    </a:cubicBezTo>
                    <a:cubicBezTo>
                      <a:pt x="25" y="79"/>
                      <a:pt x="23" y="78"/>
                      <a:pt x="23" y="77"/>
                    </a:cubicBezTo>
                    <a:cubicBezTo>
                      <a:pt x="21" y="80"/>
                      <a:pt x="15" y="79"/>
                      <a:pt x="11" y="84"/>
                    </a:cubicBezTo>
                    <a:cubicBezTo>
                      <a:pt x="8" y="91"/>
                      <a:pt x="19" y="92"/>
                      <a:pt x="19" y="92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19" y="106"/>
                      <a:pt x="21" y="104"/>
                      <a:pt x="24" y="106"/>
                    </a:cubicBezTo>
                    <a:cubicBezTo>
                      <a:pt x="26" y="108"/>
                      <a:pt x="26" y="109"/>
                      <a:pt x="24" y="116"/>
                    </a:cubicBezTo>
                    <a:cubicBezTo>
                      <a:pt x="23" y="123"/>
                      <a:pt x="10" y="126"/>
                      <a:pt x="10" y="126"/>
                    </a:cubicBezTo>
                    <a:cubicBezTo>
                      <a:pt x="6" y="125"/>
                      <a:pt x="6" y="125"/>
                      <a:pt x="6" y="125"/>
                    </a:cubicBezTo>
                    <a:cubicBezTo>
                      <a:pt x="6" y="125"/>
                      <a:pt x="1" y="126"/>
                      <a:pt x="1" y="131"/>
                    </a:cubicBezTo>
                    <a:cubicBezTo>
                      <a:pt x="0" y="138"/>
                      <a:pt x="5" y="132"/>
                      <a:pt x="5" y="132"/>
                    </a:cubicBezTo>
                    <a:cubicBezTo>
                      <a:pt x="5" y="132"/>
                      <a:pt x="5" y="133"/>
                      <a:pt x="8" y="141"/>
                    </a:cubicBezTo>
                    <a:cubicBezTo>
                      <a:pt x="10" y="147"/>
                      <a:pt x="17" y="143"/>
                      <a:pt x="17" y="143"/>
                    </a:cubicBezTo>
                    <a:cubicBezTo>
                      <a:pt x="18" y="155"/>
                      <a:pt x="18" y="155"/>
                      <a:pt x="18" y="155"/>
                    </a:cubicBezTo>
                    <a:cubicBezTo>
                      <a:pt x="18" y="155"/>
                      <a:pt x="17" y="158"/>
                      <a:pt x="14" y="159"/>
                    </a:cubicBezTo>
                    <a:cubicBezTo>
                      <a:pt x="11" y="161"/>
                      <a:pt x="8" y="170"/>
                      <a:pt x="14" y="178"/>
                    </a:cubicBezTo>
                    <a:cubicBezTo>
                      <a:pt x="18" y="187"/>
                      <a:pt x="23" y="190"/>
                      <a:pt x="30" y="192"/>
                    </a:cubicBezTo>
                    <a:cubicBezTo>
                      <a:pt x="35" y="194"/>
                      <a:pt x="43" y="190"/>
                      <a:pt x="46" y="190"/>
                    </a:cubicBezTo>
                    <a:cubicBezTo>
                      <a:pt x="47" y="190"/>
                      <a:pt x="49" y="192"/>
                      <a:pt x="47" y="200"/>
                    </a:cubicBezTo>
                    <a:cubicBezTo>
                      <a:pt x="43" y="208"/>
                      <a:pt x="36" y="209"/>
                      <a:pt x="36" y="209"/>
                    </a:cubicBezTo>
                    <a:cubicBezTo>
                      <a:pt x="40" y="218"/>
                      <a:pt x="40" y="218"/>
                      <a:pt x="40" y="218"/>
                    </a:cubicBezTo>
                    <a:cubicBezTo>
                      <a:pt x="40" y="218"/>
                      <a:pt x="51" y="218"/>
                      <a:pt x="57" y="216"/>
                    </a:cubicBezTo>
                    <a:cubicBezTo>
                      <a:pt x="63" y="213"/>
                      <a:pt x="71" y="208"/>
                      <a:pt x="71" y="208"/>
                    </a:cubicBezTo>
                    <a:cubicBezTo>
                      <a:pt x="71" y="208"/>
                      <a:pt x="73" y="200"/>
                      <a:pt x="76" y="195"/>
                    </a:cubicBezTo>
                    <a:cubicBezTo>
                      <a:pt x="79" y="191"/>
                      <a:pt x="89" y="180"/>
                      <a:pt x="97" y="177"/>
                    </a:cubicBezTo>
                    <a:cubicBezTo>
                      <a:pt x="104" y="175"/>
                      <a:pt x="116" y="180"/>
                      <a:pt x="116" y="180"/>
                    </a:cubicBezTo>
                    <a:cubicBezTo>
                      <a:pt x="118" y="184"/>
                      <a:pt x="118" y="184"/>
                      <a:pt x="118" y="184"/>
                    </a:cubicBezTo>
                    <a:cubicBezTo>
                      <a:pt x="122" y="183"/>
                      <a:pt x="122" y="183"/>
                      <a:pt x="122" y="183"/>
                    </a:cubicBezTo>
                    <a:cubicBezTo>
                      <a:pt x="133" y="189"/>
                      <a:pt x="133" y="189"/>
                      <a:pt x="133" y="189"/>
                    </a:cubicBezTo>
                    <a:cubicBezTo>
                      <a:pt x="149" y="199"/>
                      <a:pt x="149" y="199"/>
                      <a:pt x="149" y="199"/>
                    </a:cubicBezTo>
                    <a:cubicBezTo>
                      <a:pt x="152" y="197"/>
                      <a:pt x="152" y="197"/>
                      <a:pt x="152" y="197"/>
                    </a:cubicBezTo>
                    <a:cubicBezTo>
                      <a:pt x="168" y="211"/>
                      <a:pt x="168" y="211"/>
                      <a:pt x="168" y="211"/>
                    </a:cubicBezTo>
                    <a:cubicBezTo>
                      <a:pt x="168" y="217"/>
                      <a:pt x="168" y="217"/>
                      <a:pt x="168" y="217"/>
                    </a:cubicBezTo>
                    <a:cubicBezTo>
                      <a:pt x="171" y="238"/>
                      <a:pt x="171" y="238"/>
                      <a:pt x="171" y="238"/>
                    </a:cubicBezTo>
                    <a:cubicBezTo>
                      <a:pt x="171" y="238"/>
                      <a:pt x="179" y="248"/>
                      <a:pt x="182" y="257"/>
                    </a:cubicBezTo>
                    <a:cubicBezTo>
                      <a:pt x="186" y="267"/>
                      <a:pt x="179" y="271"/>
                      <a:pt x="179" y="271"/>
                    </a:cubicBezTo>
                    <a:cubicBezTo>
                      <a:pt x="182" y="275"/>
                      <a:pt x="182" y="275"/>
                      <a:pt x="182" y="275"/>
                    </a:cubicBezTo>
                    <a:cubicBezTo>
                      <a:pt x="182" y="275"/>
                      <a:pt x="188" y="273"/>
                      <a:pt x="192" y="275"/>
                    </a:cubicBezTo>
                    <a:cubicBezTo>
                      <a:pt x="198" y="278"/>
                      <a:pt x="192" y="284"/>
                      <a:pt x="192" y="284"/>
                    </a:cubicBezTo>
                    <a:cubicBezTo>
                      <a:pt x="201" y="286"/>
                      <a:pt x="201" y="286"/>
                      <a:pt x="201" y="286"/>
                    </a:cubicBezTo>
                    <a:cubicBezTo>
                      <a:pt x="212" y="298"/>
                      <a:pt x="212" y="298"/>
                      <a:pt x="212" y="298"/>
                    </a:cubicBezTo>
                    <a:cubicBezTo>
                      <a:pt x="217" y="303"/>
                      <a:pt x="217" y="303"/>
                      <a:pt x="217" y="303"/>
                    </a:cubicBezTo>
                    <a:cubicBezTo>
                      <a:pt x="217" y="303"/>
                      <a:pt x="214" y="303"/>
                      <a:pt x="211" y="306"/>
                    </a:cubicBezTo>
                    <a:cubicBezTo>
                      <a:pt x="208" y="310"/>
                      <a:pt x="215" y="312"/>
                      <a:pt x="215" y="312"/>
                    </a:cubicBezTo>
                    <a:cubicBezTo>
                      <a:pt x="216" y="306"/>
                      <a:pt x="216" y="306"/>
                      <a:pt x="216" y="306"/>
                    </a:cubicBezTo>
                    <a:cubicBezTo>
                      <a:pt x="220" y="306"/>
                      <a:pt x="220" y="306"/>
                      <a:pt x="220" y="306"/>
                    </a:cubicBezTo>
                    <a:cubicBezTo>
                      <a:pt x="220" y="306"/>
                      <a:pt x="227" y="310"/>
                      <a:pt x="233" y="314"/>
                    </a:cubicBezTo>
                    <a:cubicBezTo>
                      <a:pt x="240" y="318"/>
                      <a:pt x="246" y="333"/>
                      <a:pt x="246" y="333"/>
                    </a:cubicBezTo>
                    <a:cubicBezTo>
                      <a:pt x="250" y="332"/>
                      <a:pt x="250" y="332"/>
                      <a:pt x="250" y="332"/>
                    </a:cubicBezTo>
                    <a:cubicBezTo>
                      <a:pt x="252" y="334"/>
                      <a:pt x="252" y="334"/>
                      <a:pt x="252" y="334"/>
                    </a:cubicBezTo>
                    <a:cubicBezTo>
                      <a:pt x="252" y="334"/>
                      <a:pt x="257" y="335"/>
                      <a:pt x="263" y="341"/>
                    </a:cubicBezTo>
                    <a:cubicBezTo>
                      <a:pt x="267" y="345"/>
                      <a:pt x="266" y="351"/>
                      <a:pt x="266" y="351"/>
                    </a:cubicBezTo>
                    <a:cubicBezTo>
                      <a:pt x="266" y="351"/>
                      <a:pt x="273" y="353"/>
                      <a:pt x="277" y="356"/>
                    </a:cubicBezTo>
                    <a:cubicBezTo>
                      <a:pt x="280" y="359"/>
                      <a:pt x="286" y="369"/>
                      <a:pt x="286" y="369"/>
                    </a:cubicBezTo>
                    <a:cubicBezTo>
                      <a:pt x="290" y="369"/>
                      <a:pt x="290" y="369"/>
                      <a:pt x="290" y="369"/>
                    </a:cubicBezTo>
                    <a:cubicBezTo>
                      <a:pt x="290" y="369"/>
                      <a:pt x="300" y="373"/>
                      <a:pt x="303" y="375"/>
                    </a:cubicBezTo>
                    <a:cubicBezTo>
                      <a:pt x="305" y="376"/>
                      <a:pt x="309" y="383"/>
                      <a:pt x="309" y="383"/>
                    </a:cubicBezTo>
                    <a:cubicBezTo>
                      <a:pt x="310" y="384"/>
                      <a:pt x="310" y="384"/>
                      <a:pt x="310" y="384"/>
                    </a:cubicBezTo>
                    <a:cubicBezTo>
                      <a:pt x="310" y="384"/>
                      <a:pt x="314" y="380"/>
                      <a:pt x="319" y="378"/>
                    </a:cubicBezTo>
                    <a:cubicBezTo>
                      <a:pt x="325" y="377"/>
                      <a:pt x="335" y="383"/>
                      <a:pt x="335" y="383"/>
                    </a:cubicBezTo>
                    <a:cubicBezTo>
                      <a:pt x="335" y="383"/>
                      <a:pt x="338" y="377"/>
                      <a:pt x="346" y="384"/>
                    </a:cubicBezTo>
                    <a:cubicBezTo>
                      <a:pt x="353" y="391"/>
                      <a:pt x="354" y="398"/>
                      <a:pt x="354" y="398"/>
                    </a:cubicBezTo>
                    <a:cubicBezTo>
                      <a:pt x="354" y="398"/>
                      <a:pt x="359" y="400"/>
                      <a:pt x="360" y="402"/>
                    </a:cubicBezTo>
                    <a:cubicBezTo>
                      <a:pt x="361" y="405"/>
                      <a:pt x="359" y="410"/>
                      <a:pt x="359" y="410"/>
                    </a:cubicBezTo>
                    <a:cubicBezTo>
                      <a:pt x="361" y="411"/>
                      <a:pt x="361" y="411"/>
                      <a:pt x="361" y="411"/>
                    </a:cubicBezTo>
                    <a:cubicBezTo>
                      <a:pt x="362" y="408"/>
                      <a:pt x="362" y="408"/>
                      <a:pt x="362" y="408"/>
                    </a:cubicBezTo>
                    <a:cubicBezTo>
                      <a:pt x="367" y="410"/>
                      <a:pt x="367" y="410"/>
                      <a:pt x="367" y="410"/>
                    </a:cubicBezTo>
                    <a:cubicBezTo>
                      <a:pt x="371" y="406"/>
                      <a:pt x="371" y="406"/>
                      <a:pt x="371" y="406"/>
                    </a:cubicBezTo>
                    <a:cubicBezTo>
                      <a:pt x="378" y="413"/>
                      <a:pt x="378" y="413"/>
                      <a:pt x="378" y="413"/>
                    </a:cubicBezTo>
                    <a:cubicBezTo>
                      <a:pt x="381" y="414"/>
                      <a:pt x="381" y="414"/>
                      <a:pt x="381" y="414"/>
                    </a:cubicBezTo>
                    <a:cubicBezTo>
                      <a:pt x="372" y="422"/>
                      <a:pt x="372" y="422"/>
                      <a:pt x="372" y="422"/>
                    </a:cubicBezTo>
                    <a:cubicBezTo>
                      <a:pt x="375" y="423"/>
                      <a:pt x="375" y="423"/>
                      <a:pt x="375" y="423"/>
                    </a:cubicBezTo>
                    <a:cubicBezTo>
                      <a:pt x="381" y="420"/>
                      <a:pt x="381" y="420"/>
                      <a:pt x="381" y="420"/>
                    </a:cubicBezTo>
                    <a:cubicBezTo>
                      <a:pt x="384" y="421"/>
                      <a:pt x="384" y="421"/>
                      <a:pt x="384" y="421"/>
                    </a:cubicBezTo>
                    <a:cubicBezTo>
                      <a:pt x="388" y="419"/>
                      <a:pt x="388" y="419"/>
                      <a:pt x="388" y="419"/>
                    </a:cubicBezTo>
                    <a:cubicBezTo>
                      <a:pt x="391" y="420"/>
                      <a:pt x="391" y="420"/>
                      <a:pt x="391" y="420"/>
                    </a:cubicBezTo>
                    <a:cubicBezTo>
                      <a:pt x="395" y="416"/>
                      <a:pt x="395" y="416"/>
                      <a:pt x="395" y="416"/>
                    </a:cubicBezTo>
                    <a:cubicBezTo>
                      <a:pt x="395" y="416"/>
                      <a:pt x="400" y="420"/>
                      <a:pt x="404" y="424"/>
                    </a:cubicBezTo>
                    <a:cubicBezTo>
                      <a:pt x="408" y="428"/>
                      <a:pt x="408" y="437"/>
                      <a:pt x="408" y="437"/>
                    </a:cubicBezTo>
                    <a:cubicBezTo>
                      <a:pt x="404" y="437"/>
                      <a:pt x="404" y="437"/>
                      <a:pt x="404" y="437"/>
                    </a:cubicBezTo>
                    <a:cubicBezTo>
                      <a:pt x="404" y="444"/>
                      <a:pt x="404" y="444"/>
                      <a:pt x="404" y="444"/>
                    </a:cubicBezTo>
                    <a:cubicBezTo>
                      <a:pt x="413" y="448"/>
                      <a:pt x="413" y="448"/>
                      <a:pt x="413" y="448"/>
                    </a:cubicBezTo>
                    <a:cubicBezTo>
                      <a:pt x="413" y="448"/>
                      <a:pt x="416" y="448"/>
                      <a:pt x="419" y="449"/>
                    </a:cubicBezTo>
                    <a:cubicBezTo>
                      <a:pt x="423" y="451"/>
                      <a:pt x="425" y="456"/>
                      <a:pt x="425" y="456"/>
                    </a:cubicBezTo>
                    <a:cubicBezTo>
                      <a:pt x="429" y="459"/>
                      <a:pt x="429" y="459"/>
                      <a:pt x="429" y="459"/>
                    </a:cubicBezTo>
                    <a:cubicBezTo>
                      <a:pt x="429" y="459"/>
                      <a:pt x="435" y="452"/>
                      <a:pt x="440" y="452"/>
                    </a:cubicBezTo>
                    <a:cubicBezTo>
                      <a:pt x="444" y="451"/>
                      <a:pt x="445" y="459"/>
                      <a:pt x="445" y="459"/>
                    </a:cubicBezTo>
                    <a:cubicBezTo>
                      <a:pt x="449" y="464"/>
                      <a:pt x="449" y="464"/>
                      <a:pt x="449" y="464"/>
                    </a:cubicBezTo>
                    <a:cubicBezTo>
                      <a:pt x="449" y="464"/>
                      <a:pt x="452" y="478"/>
                      <a:pt x="456" y="484"/>
                    </a:cubicBezTo>
                    <a:cubicBezTo>
                      <a:pt x="459" y="489"/>
                      <a:pt x="462" y="490"/>
                      <a:pt x="465" y="498"/>
                    </a:cubicBezTo>
                    <a:cubicBezTo>
                      <a:pt x="468" y="505"/>
                      <a:pt x="469" y="518"/>
                      <a:pt x="469" y="518"/>
                    </a:cubicBezTo>
                    <a:cubicBezTo>
                      <a:pt x="473" y="523"/>
                      <a:pt x="473" y="523"/>
                      <a:pt x="473" y="523"/>
                    </a:cubicBezTo>
                    <a:cubicBezTo>
                      <a:pt x="473" y="523"/>
                      <a:pt x="475" y="523"/>
                      <a:pt x="476" y="527"/>
                    </a:cubicBezTo>
                    <a:cubicBezTo>
                      <a:pt x="477" y="532"/>
                      <a:pt x="473" y="537"/>
                      <a:pt x="473" y="537"/>
                    </a:cubicBezTo>
                    <a:cubicBezTo>
                      <a:pt x="465" y="537"/>
                      <a:pt x="465" y="537"/>
                      <a:pt x="465" y="537"/>
                    </a:cubicBezTo>
                    <a:cubicBezTo>
                      <a:pt x="465" y="537"/>
                      <a:pt x="458" y="542"/>
                      <a:pt x="457" y="544"/>
                    </a:cubicBezTo>
                    <a:cubicBezTo>
                      <a:pt x="454" y="548"/>
                      <a:pt x="461" y="550"/>
                      <a:pt x="462" y="552"/>
                    </a:cubicBezTo>
                    <a:cubicBezTo>
                      <a:pt x="464" y="554"/>
                      <a:pt x="461" y="555"/>
                      <a:pt x="459" y="559"/>
                    </a:cubicBezTo>
                    <a:cubicBezTo>
                      <a:pt x="456" y="564"/>
                      <a:pt x="457" y="568"/>
                      <a:pt x="457" y="568"/>
                    </a:cubicBezTo>
                    <a:cubicBezTo>
                      <a:pt x="448" y="573"/>
                      <a:pt x="448" y="573"/>
                      <a:pt x="448" y="573"/>
                    </a:cubicBezTo>
                    <a:cubicBezTo>
                      <a:pt x="450" y="579"/>
                      <a:pt x="450" y="579"/>
                      <a:pt x="450" y="579"/>
                    </a:cubicBezTo>
                    <a:cubicBezTo>
                      <a:pt x="450" y="579"/>
                      <a:pt x="449" y="586"/>
                      <a:pt x="452" y="590"/>
                    </a:cubicBezTo>
                    <a:cubicBezTo>
                      <a:pt x="457" y="595"/>
                      <a:pt x="464" y="590"/>
                      <a:pt x="464" y="590"/>
                    </a:cubicBezTo>
                    <a:cubicBezTo>
                      <a:pt x="464" y="590"/>
                      <a:pt x="470" y="590"/>
                      <a:pt x="475" y="588"/>
                    </a:cubicBezTo>
                    <a:cubicBezTo>
                      <a:pt x="479" y="587"/>
                      <a:pt x="478" y="571"/>
                      <a:pt x="482" y="567"/>
                    </a:cubicBezTo>
                    <a:cubicBezTo>
                      <a:pt x="486" y="563"/>
                      <a:pt x="494" y="558"/>
                      <a:pt x="497" y="556"/>
                    </a:cubicBezTo>
                    <a:cubicBezTo>
                      <a:pt x="500" y="553"/>
                      <a:pt x="495" y="541"/>
                      <a:pt x="495" y="535"/>
                    </a:cubicBezTo>
                    <a:cubicBezTo>
                      <a:pt x="494" y="528"/>
                      <a:pt x="508" y="523"/>
                      <a:pt x="511" y="522"/>
                    </a:cubicBezTo>
                    <a:cubicBezTo>
                      <a:pt x="515" y="521"/>
                      <a:pt x="519" y="522"/>
                      <a:pt x="523" y="521"/>
                    </a:cubicBezTo>
                    <a:cubicBezTo>
                      <a:pt x="526" y="520"/>
                      <a:pt x="526" y="514"/>
                      <a:pt x="526" y="514"/>
                    </a:cubicBezTo>
                    <a:cubicBezTo>
                      <a:pt x="521" y="507"/>
                      <a:pt x="521" y="507"/>
                      <a:pt x="521" y="507"/>
                    </a:cubicBezTo>
                    <a:cubicBezTo>
                      <a:pt x="522" y="501"/>
                      <a:pt x="522" y="501"/>
                      <a:pt x="522" y="501"/>
                    </a:cubicBezTo>
                    <a:cubicBezTo>
                      <a:pt x="519" y="498"/>
                      <a:pt x="519" y="498"/>
                      <a:pt x="519" y="498"/>
                    </a:cubicBezTo>
                    <a:cubicBezTo>
                      <a:pt x="521" y="490"/>
                      <a:pt x="521" y="490"/>
                      <a:pt x="521" y="490"/>
                    </a:cubicBezTo>
                    <a:cubicBezTo>
                      <a:pt x="512" y="483"/>
                      <a:pt x="512" y="483"/>
                      <a:pt x="512" y="483"/>
                    </a:cubicBezTo>
                    <a:cubicBezTo>
                      <a:pt x="509" y="483"/>
                      <a:pt x="509" y="483"/>
                      <a:pt x="509" y="483"/>
                    </a:cubicBezTo>
                    <a:cubicBezTo>
                      <a:pt x="502" y="475"/>
                      <a:pt x="502" y="475"/>
                      <a:pt x="502" y="475"/>
                    </a:cubicBezTo>
                    <a:cubicBezTo>
                      <a:pt x="502" y="475"/>
                      <a:pt x="496" y="477"/>
                      <a:pt x="489" y="476"/>
                    </a:cubicBezTo>
                    <a:cubicBezTo>
                      <a:pt x="482" y="475"/>
                      <a:pt x="486" y="464"/>
                      <a:pt x="486" y="464"/>
                    </a:cubicBezTo>
                    <a:cubicBezTo>
                      <a:pt x="486" y="464"/>
                      <a:pt x="491" y="458"/>
                      <a:pt x="492" y="456"/>
                    </a:cubicBezTo>
                    <a:cubicBezTo>
                      <a:pt x="494" y="453"/>
                      <a:pt x="491" y="449"/>
                      <a:pt x="491" y="449"/>
                    </a:cubicBezTo>
                    <a:cubicBezTo>
                      <a:pt x="495" y="444"/>
                      <a:pt x="495" y="444"/>
                      <a:pt x="495" y="444"/>
                    </a:cubicBezTo>
                    <a:cubicBezTo>
                      <a:pt x="498" y="436"/>
                      <a:pt x="498" y="436"/>
                      <a:pt x="498" y="436"/>
                    </a:cubicBezTo>
                    <a:cubicBezTo>
                      <a:pt x="498" y="436"/>
                      <a:pt x="503" y="424"/>
                      <a:pt x="507" y="422"/>
                    </a:cubicBezTo>
                    <a:cubicBezTo>
                      <a:pt x="509" y="420"/>
                      <a:pt x="516" y="417"/>
                      <a:pt x="516" y="417"/>
                    </a:cubicBezTo>
                    <a:cubicBezTo>
                      <a:pt x="518" y="421"/>
                      <a:pt x="518" y="421"/>
                      <a:pt x="518" y="421"/>
                    </a:cubicBezTo>
                    <a:cubicBezTo>
                      <a:pt x="523" y="422"/>
                      <a:pt x="523" y="422"/>
                      <a:pt x="523" y="422"/>
                    </a:cubicBezTo>
                    <a:cubicBezTo>
                      <a:pt x="523" y="425"/>
                      <a:pt x="523" y="425"/>
                      <a:pt x="523" y="425"/>
                    </a:cubicBezTo>
                    <a:cubicBezTo>
                      <a:pt x="523" y="425"/>
                      <a:pt x="533" y="430"/>
                      <a:pt x="538" y="430"/>
                    </a:cubicBezTo>
                    <a:cubicBezTo>
                      <a:pt x="542" y="431"/>
                      <a:pt x="545" y="428"/>
                      <a:pt x="545" y="428"/>
                    </a:cubicBezTo>
                    <a:cubicBezTo>
                      <a:pt x="545" y="428"/>
                      <a:pt x="550" y="429"/>
                      <a:pt x="556" y="432"/>
                    </a:cubicBezTo>
                    <a:cubicBezTo>
                      <a:pt x="562" y="437"/>
                      <a:pt x="562" y="446"/>
                      <a:pt x="562" y="451"/>
                    </a:cubicBezTo>
                    <a:cubicBezTo>
                      <a:pt x="563" y="455"/>
                      <a:pt x="575" y="456"/>
                      <a:pt x="575" y="456"/>
                    </a:cubicBezTo>
                    <a:cubicBezTo>
                      <a:pt x="575" y="456"/>
                      <a:pt x="580" y="460"/>
                      <a:pt x="583" y="458"/>
                    </a:cubicBezTo>
                    <a:cubicBezTo>
                      <a:pt x="587" y="456"/>
                      <a:pt x="582" y="446"/>
                      <a:pt x="582" y="446"/>
                    </a:cubicBezTo>
                    <a:lnTo>
                      <a:pt x="589" y="436"/>
                    </a:lnTo>
                    <a:close/>
                    <a:moveTo>
                      <a:pt x="280" y="207"/>
                    </a:moveTo>
                    <a:cubicBezTo>
                      <a:pt x="279" y="208"/>
                      <a:pt x="278" y="213"/>
                      <a:pt x="278" y="213"/>
                    </a:cubicBezTo>
                    <a:cubicBezTo>
                      <a:pt x="278" y="213"/>
                      <a:pt x="274" y="216"/>
                      <a:pt x="273" y="215"/>
                    </a:cubicBezTo>
                    <a:cubicBezTo>
                      <a:pt x="271" y="214"/>
                      <a:pt x="271" y="214"/>
                      <a:pt x="271" y="214"/>
                    </a:cubicBezTo>
                    <a:cubicBezTo>
                      <a:pt x="271" y="210"/>
                      <a:pt x="271" y="210"/>
                      <a:pt x="271" y="210"/>
                    </a:cubicBezTo>
                    <a:cubicBezTo>
                      <a:pt x="275" y="209"/>
                      <a:pt x="275" y="209"/>
                      <a:pt x="275" y="209"/>
                    </a:cubicBezTo>
                    <a:cubicBezTo>
                      <a:pt x="275" y="209"/>
                      <a:pt x="275" y="207"/>
                      <a:pt x="278" y="206"/>
                    </a:cubicBezTo>
                    <a:cubicBezTo>
                      <a:pt x="281" y="205"/>
                      <a:pt x="280" y="206"/>
                      <a:pt x="280" y="207"/>
                    </a:cubicBezTo>
                    <a:close/>
                    <a:moveTo>
                      <a:pt x="412" y="554"/>
                    </a:moveTo>
                    <a:cubicBezTo>
                      <a:pt x="409" y="551"/>
                      <a:pt x="409" y="556"/>
                      <a:pt x="409" y="556"/>
                    </a:cubicBezTo>
                    <a:cubicBezTo>
                      <a:pt x="412" y="559"/>
                      <a:pt x="416" y="557"/>
                      <a:pt x="412" y="554"/>
                    </a:cubicBezTo>
                    <a:close/>
                    <a:moveTo>
                      <a:pt x="446" y="568"/>
                    </a:moveTo>
                    <a:cubicBezTo>
                      <a:pt x="445" y="567"/>
                      <a:pt x="445" y="567"/>
                      <a:pt x="445" y="567"/>
                    </a:cubicBezTo>
                    <a:cubicBezTo>
                      <a:pt x="445" y="567"/>
                      <a:pt x="434" y="574"/>
                      <a:pt x="432" y="574"/>
                    </a:cubicBezTo>
                    <a:cubicBezTo>
                      <a:pt x="430" y="574"/>
                      <a:pt x="427" y="572"/>
                      <a:pt x="427" y="572"/>
                    </a:cubicBezTo>
                    <a:cubicBezTo>
                      <a:pt x="427" y="572"/>
                      <a:pt x="423" y="579"/>
                      <a:pt x="421" y="580"/>
                    </a:cubicBezTo>
                    <a:cubicBezTo>
                      <a:pt x="419" y="580"/>
                      <a:pt x="418" y="579"/>
                      <a:pt x="418" y="579"/>
                    </a:cubicBezTo>
                    <a:cubicBezTo>
                      <a:pt x="414" y="578"/>
                      <a:pt x="414" y="578"/>
                      <a:pt x="414" y="578"/>
                    </a:cubicBezTo>
                    <a:cubicBezTo>
                      <a:pt x="411" y="577"/>
                      <a:pt x="411" y="577"/>
                      <a:pt x="411" y="577"/>
                    </a:cubicBezTo>
                    <a:cubicBezTo>
                      <a:pt x="411" y="577"/>
                      <a:pt x="409" y="580"/>
                      <a:pt x="408" y="580"/>
                    </a:cubicBezTo>
                    <a:cubicBezTo>
                      <a:pt x="405" y="579"/>
                      <a:pt x="403" y="578"/>
                      <a:pt x="403" y="578"/>
                    </a:cubicBezTo>
                    <a:cubicBezTo>
                      <a:pt x="403" y="578"/>
                      <a:pt x="397" y="583"/>
                      <a:pt x="395" y="585"/>
                    </a:cubicBezTo>
                    <a:cubicBezTo>
                      <a:pt x="393" y="586"/>
                      <a:pt x="388" y="586"/>
                      <a:pt x="388" y="586"/>
                    </a:cubicBezTo>
                    <a:cubicBezTo>
                      <a:pt x="384" y="589"/>
                      <a:pt x="384" y="589"/>
                      <a:pt x="384" y="589"/>
                    </a:cubicBezTo>
                    <a:cubicBezTo>
                      <a:pt x="370" y="590"/>
                      <a:pt x="370" y="590"/>
                      <a:pt x="370" y="590"/>
                    </a:cubicBezTo>
                    <a:cubicBezTo>
                      <a:pt x="370" y="590"/>
                      <a:pt x="368" y="588"/>
                      <a:pt x="365" y="588"/>
                    </a:cubicBezTo>
                    <a:cubicBezTo>
                      <a:pt x="362" y="588"/>
                      <a:pt x="355" y="594"/>
                      <a:pt x="352" y="594"/>
                    </a:cubicBezTo>
                    <a:cubicBezTo>
                      <a:pt x="348" y="594"/>
                      <a:pt x="341" y="589"/>
                      <a:pt x="341" y="589"/>
                    </a:cubicBezTo>
                    <a:cubicBezTo>
                      <a:pt x="339" y="585"/>
                      <a:pt x="339" y="585"/>
                      <a:pt x="339" y="585"/>
                    </a:cubicBezTo>
                    <a:cubicBezTo>
                      <a:pt x="339" y="585"/>
                      <a:pt x="332" y="587"/>
                      <a:pt x="331" y="586"/>
                    </a:cubicBezTo>
                    <a:cubicBezTo>
                      <a:pt x="330" y="584"/>
                      <a:pt x="331" y="581"/>
                      <a:pt x="331" y="581"/>
                    </a:cubicBezTo>
                    <a:cubicBezTo>
                      <a:pt x="327" y="579"/>
                      <a:pt x="327" y="579"/>
                      <a:pt x="327" y="579"/>
                    </a:cubicBezTo>
                    <a:cubicBezTo>
                      <a:pt x="316" y="581"/>
                      <a:pt x="316" y="581"/>
                      <a:pt x="316" y="581"/>
                    </a:cubicBezTo>
                    <a:cubicBezTo>
                      <a:pt x="314" y="583"/>
                      <a:pt x="314" y="583"/>
                      <a:pt x="314" y="583"/>
                    </a:cubicBezTo>
                    <a:cubicBezTo>
                      <a:pt x="315" y="587"/>
                      <a:pt x="315" y="587"/>
                      <a:pt x="315" y="587"/>
                    </a:cubicBezTo>
                    <a:cubicBezTo>
                      <a:pt x="306" y="591"/>
                      <a:pt x="306" y="591"/>
                      <a:pt x="306" y="591"/>
                    </a:cubicBezTo>
                    <a:cubicBezTo>
                      <a:pt x="301" y="588"/>
                      <a:pt x="301" y="588"/>
                      <a:pt x="301" y="588"/>
                    </a:cubicBezTo>
                    <a:cubicBezTo>
                      <a:pt x="301" y="588"/>
                      <a:pt x="301" y="585"/>
                      <a:pt x="299" y="583"/>
                    </a:cubicBezTo>
                    <a:cubicBezTo>
                      <a:pt x="296" y="581"/>
                      <a:pt x="294" y="581"/>
                      <a:pt x="294" y="581"/>
                    </a:cubicBezTo>
                    <a:cubicBezTo>
                      <a:pt x="294" y="583"/>
                      <a:pt x="294" y="583"/>
                      <a:pt x="294" y="583"/>
                    </a:cubicBezTo>
                    <a:cubicBezTo>
                      <a:pt x="294" y="583"/>
                      <a:pt x="297" y="584"/>
                      <a:pt x="297" y="585"/>
                    </a:cubicBezTo>
                    <a:cubicBezTo>
                      <a:pt x="296" y="586"/>
                      <a:pt x="288" y="588"/>
                      <a:pt x="288" y="588"/>
                    </a:cubicBezTo>
                    <a:cubicBezTo>
                      <a:pt x="284" y="595"/>
                      <a:pt x="284" y="595"/>
                      <a:pt x="284" y="595"/>
                    </a:cubicBezTo>
                    <a:cubicBezTo>
                      <a:pt x="285" y="602"/>
                      <a:pt x="285" y="602"/>
                      <a:pt x="285" y="602"/>
                    </a:cubicBezTo>
                    <a:cubicBezTo>
                      <a:pt x="282" y="606"/>
                      <a:pt x="282" y="606"/>
                      <a:pt x="282" y="606"/>
                    </a:cubicBezTo>
                    <a:cubicBezTo>
                      <a:pt x="285" y="616"/>
                      <a:pt x="285" y="616"/>
                      <a:pt x="285" y="616"/>
                    </a:cubicBezTo>
                    <a:cubicBezTo>
                      <a:pt x="292" y="615"/>
                      <a:pt x="292" y="615"/>
                      <a:pt x="292" y="615"/>
                    </a:cubicBezTo>
                    <a:cubicBezTo>
                      <a:pt x="295" y="622"/>
                      <a:pt x="295" y="622"/>
                      <a:pt x="295" y="622"/>
                    </a:cubicBezTo>
                    <a:cubicBezTo>
                      <a:pt x="295" y="622"/>
                      <a:pt x="303" y="620"/>
                      <a:pt x="310" y="622"/>
                    </a:cubicBezTo>
                    <a:cubicBezTo>
                      <a:pt x="312" y="624"/>
                      <a:pt x="313" y="625"/>
                      <a:pt x="315" y="626"/>
                    </a:cubicBezTo>
                    <a:cubicBezTo>
                      <a:pt x="319" y="627"/>
                      <a:pt x="321" y="626"/>
                      <a:pt x="321" y="626"/>
                    </a:cubicBezTo>
                    <a:cubicBezTo>
                      <a:pt x="321" y="626"/>
                      <a:pt x="333" y="638"/>
                      <a:pt x="335" y="638"/>
                    </a:cubicBezTo>
                    <a:cubicBezTo>
                      <a:pt x="337" y="638"/>
                      <a:pt x="341" y="637"/>
                      <a:pt x="343" y="640"/>
                    </a:cubicBezTo>
                    <a:cubicBezTo>
                      <a:pt x="344" y="641"/>
                      <a:pt x="346" y="644"/>
                      <a:pt x="350" y="646"/>
                    </a:cubicBezTo>
                    <a:cubicBezTo>
                      <a:pt x="354" y="649"/>
                      <a:pt x="362" y="650"/>
                      <a:pt x="366" y="650"/>
                    </a:cubicBezTo>
                    <a:cubicBezTo>
                      <a:pt x="370" y="650"/>
                      <a:pt x="381" y="650"/>
                      <a:pt x="384" y="656"/>
                    </a:cubicBezTo>
                    <a:cubicBezTo>
                      <a:pt x="388" y="660"/>
                      <a:pt x="391" y="667"/>
                      <a:pt x="392" y="668"/>
                    </a:cubicBezTo>
                    <a:cubicBezTo>
                      <a:pt x="394" y="669"/>
                      <a:pt x="398" y="667"/>
                      <a:pt x="401" y="669"/>
                    </a:cubicBezTo>
                    <a:cubicBezTo>
                      <a:pt x="403" y="672"/>
                      <a:pt x="404" y="673"/>
                      <a:pt x="404" y="673"/>
                    </a:cubicBezTo>
                    <a:cubicBezTo>
                      <a:pt x="404" y="673"/>
                      <a:pt x="411" y="672"/>
                      <a:pt x="414" y="672"/>
                    </a:cubicBezTo>
                    <a:cubicBezTo>
                      <a:pt x="416" y="672"/>
                      <a:pt x="419" y="674"/>
                      <a:pt x="419" y="674"/>
                    </a:cubicBezTo>
                    <a:cubicBezTo>
                      <a:pt x="420" y="673"/>
                      <a:pt x="420" y="673"/>
                      <a:pt x="420" y="673"/>
                    </a:cubicBezTo>
                    <a:cubicBezTo>
                      <a:pt x="420" y="673"/>
                      <a:pt x="426" y="677"/>
                      <a:pt x="427" y="675"/>
                    </a:cubicBezTo>
                    <a:cubicBezTo>
                      <a:pt x="428" y="673"/>
                      <a:pt x="425" y="669"/>
                      <a:pt x="427" y="662"/>
                    </a:cubicBezTo>
                    <a:cubicBezTo>
                      <a:pt x="430" y="654"/>
                      <a:pt x="436" y="652"/>
                      <a:pt x="436" y="652"/>
                    </a:cubicBezTo>
                    <a:cubicBezTo>
                      <a:pt x="436" y="649"/>
                      <a:pt x="436" y="649"/>
                      <a:pt x="436" y="649"/>
                    </a:cubicBezTo>
                    <a:cubicBezTo>
                      <a:pt x="434" y="649"/>
                      <a:pt x="434" y="649"/>
                      <a:pt x="434" y="649"/>
                    </a:cubicBezTo>
                    <a:cubicBezTo>
                      <a:pt x="434" y="646"/>
                      <a:pt x="434" y="646"/>
                      <a:pt x="434" y="646"/>
                    </a:cubicBezTo>
                    <a:cubicBezTo>
                      <a:pt x="429" y="640"/>
                      <a:pt x="429" y="640"/>
                      <a:pt x="429" y="640"/>
                    </a:cubicBezTo>
                    <a:cubicBezTo>
                      <a:pt x="431" y="638"/>
                      <a:pt x="431" y="638"/>
                      <a:pt x="431" y="638"/>
                    </a:cubicBezTo>
                    <a:cubicBezTo>
                      <a:pt x="429" y="633"/>
                      <a:pt x="429" y="633"/>
                      <a:pt x="429" y="633"/>
                    </a:cubicBezTo>
                    <a:cubicBezTo>
                      <a:pt x="427" y="634"/>
                      <a:pt x="427" y="634"/>
                      <a:pt x="427" y="634"/>
                    </a:cubicBezTo>
                    <a:cubicBezTo>
                      <a:pt x="427" y="634"/>
                      <a:pt x="423" y="631"/>
                      <a:pt x="423" y="626"/>
                    </a:cubicBezTo>
                    <a:cubicBezTo>
                      <a:pt x="423" y="620"/>
                      <a:pt x="425" y="618"/>
                      <a:pt x="425" y="618"/>
                    </a:cubicBezTo>
                    <a:cubicBezTo>
                      <a:pt x="428" y="603"/>
                      <a:pt x="428" y="603"/>
                      <a:pt x="428" y="603"/>
                    </a:cubicBezTo>
                    <a:cubicBezTo>
                      <a:pt x="428" y="603"/>
                      <a:pt x="436" y="590"/>
                      <a:pt x="440" y="585"/>
                    </a:cubicBezTo>
                    <a:cubicBezTo>
                      <a:pt x="444" y="580"/>
                      <a:pt x="445" y="575"/>
                      <a:pt x="445" y="575"/>
                    </a:cubicBezTo>
                    <a:cubicBezTo>
                      <a:pt x="445" y="573"/>
                      <a:pt x="445" y="573"/>
                      <a:pt x="445" y="573"/>
                    </a:cubicBezTo>
                    <a:cubicBezTo>
                      <a:pt x="448" y="569"/>
                      <a:pt x="448" y="569"/>
                      <a:pt x="448" y="569"/>
                    </a:cubicBezTo>
                    <a:lnTo>
                      <a:pt x="446" y="568"/>
                    </a:lnTo>
                    <a:close/>
                    <a:moveTo>
                      <a:pt x="405" y="550"/>
                    </a:moveTo>
                    <a:cubicBezTo>
                      <a:pt x="401" y="550"/>
                      <a:pt x="404" y="553"/>
                      <a:pt x="404" y="553"/>
                    </a:cubicBezTo>
                    <a:cubicBezTo>
                      <a:pt x="407" y="554"/>
                      <a:pt x="410" y="550"/>
                      <a:pt x="405" y="550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7" name="San Marino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022793" y="4592416"/>
                <a:ext cx="29292" cy="30920"/>
              </a:xfrm>
              <a:custGeom>
                <a:avLst/>
                <a:gdLst/>
                <a:ahLst/>
                <a:cxnLst>
                  <a:cxn ang="0">
                    <a:pos x="2" y="10"/>
                  </a:cxn>
                  <a:cxn ang="0">
                    <a:pos x="7" y="8"/>
                  </a:cxn>
                  <a:cxn ang="0">
                    <a:pos x="9" y="2"/>
                  </a:cxn>
                  <a:cxn ang="0">
                    <a:pos x="7" y="1"/>
                  </a:cxn>
                  <a:cxn ang="0">
                    <a:pos x="4" y="4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2" y="10"/>
                  </a:cxn>
                </a:cxnLst>
                <a:rect l="0" t="0" r="r" b="b"/>
                <a:pathLst>
                  <a:path w="10" h="11">
                    <a:moveTo>
                      <a:pt x="2" y="10"/>
                    </a:moveTo>
                    <a:cubicBezTo>
                      <a:pt x="3" y="11"/>
                      <a:pt x="7" y="8"/>
                      <a:pt x="7" y="8"/>
                    </a:cubicBezTo>
                    <a:cubicBezTo>
                      <a:pt x="7" y="8"/>
                      <a:pt x="8" y="3"/>
                      <a:pt x="9" y="2"/>
                    </a:cubicBezTo>
                    <a:cubicBezTo>
                      <a:pt x="9" y="1"/>
                      <a:pt x="10" y="0"/>
                      <a:pt x="7" y="1"/>
                    </a:cubicBezTo>
                    <a:cubicBezTo>
                      <a:pt x="4" y="2"/>
                      <a:pt x="4" y="4"/>
                      <a:pt x="4" y="4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10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8" name="Deutschland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3241675" y="2535470"/>
                <a:ext cx="1077292" cy="1453206"/>
              </a:xfrm>
              <a:custGeom>
                <a:avLst/>
                <a:gdLst/>
                <a:ahLst/>
                <a:cxnLst>
                  <a:cxn ang="0">
                    <a:pos x="296" y="88"/>
                  </a:cxn>
                  <a:cxn ang="0">
                    <a:pos x="316" y="94"/>
                  </a:cxn>
                  <a:cxn ang="0">
                    <a:pos x="301" y="195"/>
                  </a:cxn>
                  <a:cxn ang="0">
                    <a:pos x="291" y="184"/>
                  </a:cxn>
                  <a:cxn ang="0">
                    <a:pos x="772" y="96"/>
                  </a:cxn>
                  <a:cxn ang="0">
                    <a:pos x="777" y="96"/>
                  </a:cxn>
                  <a:cxn ang="0">
                    <a:pos x="793" y="138"/>
                  </a:cxn>
                  <a:cxn ang="0">
                    <a:pos x="821" y="130"/>
                  </a:cxn>
                  <a:cxn ang="0">
                    <a:pos x="775" y="70"/>
                  </a:cxn>
                  <a:cxn ang="0">
                    <a:pos x="783" y="91"/>
                  </a:cxn>
                  <a:cxn ang="0">
                    <a:pos x="847" y="179"/>
                  </a:cxn>
                  <a:cxn ang="0">
                    <a:pos x="834" y="171"/>
                  </a:cxn>
                  <a:cxn ang="0">
                    <a:pos x="596" y="180"/>
                  </a:cxn>
                  <a:cxn ang="0">
                    <a:pos x="550" y="109"/>
                  </a:cxn>
                  <a:cxn ang="0">
                    <a:pos x="749" y="104"/>
                  </a:cxn>
                  <a:cxn ang="0">
                    <a:pos x="146" y="231"/>
                  </a:cxn>
                  <a:cxn ang="0">
                    <a:pos x="210" y="221"/>
                  </a:cxn>
                  <a:cxn ang="0">
                    <a:pos x="972" y="618"/>
                  </a:cxn>
                  <a:cxn ang="0">
                    <a:pos x="928" y="434"/>
                  </a:cxn>
                  <a:cxn ang="0">
                    <a:pos x="853" y="221"/>
                  </a:cxn>
                  <a:cxn ang="0">
                    <a:pos x="788" y="151"/>
                  </a:cxn>
                  <a:cxn ang="0">
                    <a:pos x="689" y="130"/>
                  </a:cxn>
                  <a:cxn ang="0">
                    <a:pos x="656" y="158"/>
                  </a:cxn>
                  <a:cxn ang="0">
                    <a:pos x="575" y="200"/>
                  </a:cxn>
                  <a:cxn ang="0">
                    <a:pos x="550" y="161"/>
                  </a:cxn>
                  <a:cxn ang="0">
                    <a:pos x="464" y="130"/>
                  </a:cxn>
                  <a:cxn ang="0">
                    <a:pos x="397" y="47"/>
                  </a:cxn>
                  <a:cxn ang="0">
                    <a:pos x="348" y="94"/>
                  </a:cxn>
                  <a:cxn ang="0">
                    <a:pos x="332" y="158"/>
                  </a:cxn>
                  <a:cxn ang="0">
                    <a:pos x="384" y="221"/>
                  </a:cxn>
                  <a:cxn ang="0">
                    <a:pos x="272" y="255"/>
                  </a:cxn>
                  <a:cxn ang="0">
                    <a:pos x="174" y="231"/>
                  </a:cxn>
                  <a:cxn ang="0">
                    <a:pos x="148" y="374"/>
                  </a:cxn>
                  <a:cxn ang="0">
                    <a:pos x="102" y="532"/>
                  </a:cxn>
                  <a:cxn ang="0">
                    <a:pos x="37" y="590"/>
                  </a:cxn>
                  <a:cxn ang="0">
                    <a:pos x="24" y="709"/>
                  </a:cxn>
                  <a:cxn ang="0">
                    <a:pos x="21" y="841"/>
                  </a:cxn>
                  <a:cxn ang="0">
                    <a:pos x="76" y="992"/>
                  </a:cxn>
                  <a:cxn ang="0">
                    <a:pos x="153" y="1005"/>
                  </a:cxn>
                  <a:cxn ang="0">
                    <a:pos x="195" y="1104"/>
                  </a:cxn>
                  <a:cxn ang="0">
                    <a:pos x="213" y="1285"/>
                  </a:cxn>
                  <a:cxn ang="0">
                    <a:pos x="283" y="1249"/>
                  </a:cxn>
                  <a:cxn ang="0">
                    <a:pos x="417" y="1285"/>
                  </a:cxn>
                  <a:cxn ang="0">
                    <a:pos x="503" y="1291"/>
                  </a:cxn>
                  <a:cxn ang="0">
                    <a:pos x="599" y="1306"/>
                  </a:cxn>
                  <a:cxn ang="0">
                    <a:pos x="762" y="1267"/>
                  </a:cxn>
                  <a:cxn ang="0">
                    <a:pos x="757" y="1189"/>
                  </a:cxn>
                  <a:cxn ang="0">
                    <a:pos x="824" y="1031"/>
                  </a:cxn>
                  <a:cxn ang="0">
                    <a:pos x="720" y="880"/>
                  </a:cxn>
                  <a:cxn ang="0">
                    <a:pos x="736" y="800"/>
                  </a:cxn>
                  <a:cxn ang="0">
                    <a:pos x="902" y="712"/>
                  </a:cxn>
                  <a:cxn ang="0">
                    <a:pos x="967" y="704"/>
                  </a:cxn>
                  <a:cxn ang="0">
                    <a:pos x="138" y="234"/>
                  </a:cxn>
                  <a:cxn ang="0">
                    <a:pos x="239" y="216"/>
                  </a:cxn>
                  <a:cxn ang="0">
                    <a:pos x="278" y="68"/>
                  </a:cxn>
                  <a:cxn ang="0">
                    <a:pos x="280" y="49"/>
                  </a:cxn>
                  <a:cxn ang="0">
                    <a:pos x="291" y="26"/>
                  </a:cxn>
                  <a:cxn ang="0">
                    <a:pos x="296" y="0"/>
                  </a:cxn>
                  <a:cxn ang="0">
                    <a:pos x="265" y="229"/>
                  </a:cxn>
                  <a:cxn ang="0">
                    <a:pos x="241" y="151"/>
                  </a:cxn>
                </a:cxnLst>
                <a:rect l="0" t="0" r="r" b="b"/>
                <a:pathLst>
                  <a:path w="987" h="1337">
                    <a:moveTo>
                      <a:pt x="285" y="1267"/>
                    </a:moveTo>
                    <a:cubicBezTo>
                      <a:pt x="293" y="1267"/>
                      <a:pt x="293" y="1267"/>
                      <a:pt x="293" y="1267"/>
                    </a:cubicBezTo>
                    <a:cubicBezTo>
                      <a:pt x="293" y="1262"/>
                      <a:pt x="293" y="1262"/>
                      <a:pt x="293" y="1262"/>
                    </a:cubicBezTo>
                    <a:cubicBezTo>
                      <a:pt x="288" y="1262"/>
                      <a:pt x="288" y="1262"/>
                      <a:pt x="288" y="1262"/>
                    </a:cubicBezTo>
                    <a:cubicBezTo>
                      <a:pt x="285" y="1267"/>
                      <a:pt x="285" y="1267"/>
                      <a:pt x="285" y="1267"/>
                    </a:cubicBezTo>
                    <a:close/>
                    <a:moveTo>
                      <a:pt x="296" y="94"/>
                    </a:moveTo>
                    <a:cubicBezTo>
                      <a:pt x="298" y="91"/>
                      <a:pt x="298" y="88"/>
                      <a:pt x="296" y="88"/>
                    </a:cubicBezTo>
                    <a:cubicBezTo>
                      <a:pt x="283" y="91"/>
                      <a:pt x="301" y="96"/>
                      <a:pt x="296" y="94"/>
                    </a:cubicBezTo>
                    <a:close/>
                    <a:moveTo>
                      <a:pt x="319" y="101"/>
                    </a:moveTo>
                    <a:cubicBezTo>
                      <a:pt x="322" y="101"/>
                      <a:pt x="322" y="99"/>
                      <a:pt x="322" y="99"/>
                    </a:cubicBezTo>
                    <a:cubicBezTo>
                      <a:pt x="319" y="99"/>
                      <a:pt x="316" y="101"/>
                      <a:pt x="319" y="101"/>
                    </a:cubicBezTo>
                    <a:close/>
                    <a:moveTo>
                      <a:pt x="316" y="94"/>
                    </a:moveTo>
                    <a:cubicBezTo>
                      <a:pt x="319" y="91"/>
                      <a:pt x="322" y="91"/>
                      <a:pt x="319" y="86"/>
                    </a:cubicBezTo>
                    <a:cubicBezTo>
                      <a:pt x="314" y="83"/>
                      <a:pt x="298" y="101"/>
                      <a:pt x="316" y="94"/>
                    </a:cubicBezTo>
                    <a:close/>
                    <a:moveTo>
                      <a:pt x="314" y="68"/>
                    </a:moveTo>
                    <a:cubicBezTo>
                      <a:pt x="311" y="70"/>
                      <a:pt x="309" y="70"/>
                      <a:pt x="306" y="70"/>
                    </a:cubicBezTo>
                    <a:cubicBezTo>
                      <a:pt x="311" y="78"/>
                      <a:pt x="311" y="70"/>
                      <a:pt x="314" y="68"/>
                    </a:cubicBezTo>
                    <a:close/>
                    <a:moveTo>
                      <a:pt x="296" y="83"/>
                    </a:moveTo>
                    <a:cubicBezTo>
                      <a:pt x="296" y="81"/>
                      <a:pt x="293" y="81"/>
                      <a:pt x="293" y="83"/>
                    </a:cubicBezTo>
                    <a:cubicBezTo>
                      <a:pt x="293" y="88"/>
                      <a:pt x="296" y="83"/>
                      <a:pt x="296" y="83"/>
                    </a:cubicBezTo>
                    <a:close/>
                    <a:moveTo>
                      <a:pt x="301" y="195"/>
                    </a:moveTo>
                    <a:cubicBezTo>
                      <a:pt x="306" y="195"/>
                      <a:pt x="301" y="192"/>
                      <a:pt x="301" y="192"/>
                    </a:cubicBezTo>
                    <a:cubicBezTo>
                      <a:pt x="296" y="192"/>
                      <a:pt x="296" y="195"/>
                      <a:pt x="301" y="195"/>
                    </a:cubicBezTo>
                    <a:close/>
                    <a:moveTo>
                      <a:pt x="301" y="101"/>
                    </a:moveTo>
                    <a:cubicBezTo>
                      <a:pt x="301" y="104"/>
                      <a:pt x="306" y="101"/>
                      <a:pt x="306" y="101"/>
                    </a:cubicBezTo>
                    <a:cubicBezTo>
                      <a:pt x="306" y="96"/>
                      <a:pt x="301" y="99"/>
                      <a:pt x="301" y="101"/>
                    </a:cubicBezTo>
                    <a:close/>
                    <a:moveTo>
                      <a:pt x="296" y="187"/>
                    </a:moveTo>
                    <a:cubicBezTo>
                      <a:pt x="298" y="184"/>
                      <a:pt x="291" y="184"/>
                      <a:pt x="291" y="184"/>
                    </a:cubicBezTo>
                    <a:cubicBezTo>
                      <a:pt x="288" y="182"/>
                      <a:pt x="293" y="200"/>
                      <a:pt x="296" y="187"/>
                    </a:cubicBezTo>
                    <a:close/>
                    <a:moveTo>
                      <a:pt x="298" y="107"/>
                    </a:moveTo>
                    <a:cubicBezTo>
                      <a:pt x="298" y="107"/>
                      <a:pt x="298" y="104"/>
                      <a:pt x="296" y="101"/>
                    </a:cubicBezTo>
                    <a:cubicBezTo>
                      <a:pt x="291" y="96"/>
                      <a:pt x="293" y="109"/>
                      <a:pt x="298" y="107"/>
                    </a:cubicBezTo>
                    <a:close/>
                    <a:moveTo>
                      <a:pt x="772" y="96"/>
                    </a:moveTo>
                    <a:cubicBezTo>
                      <a:pt x="765" y="91"/>
                      <a:pt x="765" y="99"/>
                      <a:pt x="759" y="101"/>
                    </a:cubicBezTo>
                    <a:cubicBezTo>
                      <a:pt x="762" y="101"/>
                      <a:pt x="767" y="99"/>
                      <a:pt x="772" y="96"/>
                    </a:cubicBezTo>
                    <a:close/>
                    <a:moveTo>
                      <a:pt x="845" y="135"/>
                    </a:moveTo>
                    <a:cubicBezTo>
                      <a:pt x="842" y="132"/>
                      <a:pt x="842" y="132"/>
                      <a:pt x="840" y="135"/>
                    </a:cubicBezTo>
                    <a:cubicBezTo>
                      <a:pt x="840" y="140"/>
                      <a:pt x="842" y="135"/>
                      <a:pt x="845" y="135"/>
                    </a:cubicBezTo>
                    <a:close/>
                    <a:moveTo>
                      <a:pt x="759" y="75"/>
                    </a:moveTo>
                    <a:cubicBezTo>
                      <a:pt x="752" y="68"/>
                      <a:pt x="754" y="96"/>
                      <a:pt x="754" y="99"/>
                    </a:cubicBezTo>
                    <a:cubicBezTo>
                      <a:pt x="757" y="94"/>
                      <a:pt x="759" y="75"/>
                      <a:pt x="759" y="75"/>
                    </a:cubicBezTo>
                    <a:close/>
                    <a:moveTo>
                      <a:pt x="777" y="96"/>
                    </a:moveTo>
                    <a:cubicBezTo>
                      <a:pt x="777" y="99"/>
                      <a:pt x="762" y="101"/>
                      <a:pt x="765" y="104"/>
                    </a:cubicBezTo>
                    <a:cubicBezTo>
                      <a:pt x="765" y="107"/>
                      <a:pt x="775" y="101"/>
                      <a:pt x="775" y="107"/>
                    </a:cubicBezTo>
                    <a:cubicBezTo>
                      <a:pt x="775" y="112"/>
                      <a:pt x="777" y="117"/>
                      <a:pt x="767" y="117"/>
                    </a:cubicBezTo>
                    <a:cubicBezTo>
                      <a:pt x="759" y="117"/>
                      <a:pt x="759" y="125"/>
                      <a:pt x="762" y="127"/>
                    </a:cubicBezTo>
                    <a:cubicBezTo>
                      <a:pt x="765" y="130"/>
                      <a:pt x="780" y="135"/>
                      <a:pt x="783" y="135"/>
                    </a:cubicBezTo>
                    <a:cubicBezTo>
                      <a:pt x="785" y="138"/>
                      <a:pt x="783" y="138"/>
                      <a:pt x="783" y="138"/>
                    </a:cubicBezTo>
                    <a:cubicBezTo>
                      <a:pt x="785" y="140"/>
                      <a:pt x="793" y="140"/>
                      <a:pt x="793" y="138"/>
                    </a:cubicBezTo>
                    <a:cubicBezTo>
                      <a:pt x="793" y="132"/>
                      <a:pt x="788" y="138"/>
                      <a:pt x="788" y="132"/>
                    </a:cubicBezTo>
                    <a:cubicBezTo>
                      <a:pt x="788" y="127"/>
                      <a:pt x="798" y="127"/>
                      <a:pt x="793" y="122"/>
                    </a:cubicBezTo>
                    <a:cubicBezTo>
                      <a:pt x="796" y="122"/>
                      <a:pt x="816" y="117"/>
                      <a:pt x="816" y="120"/>
                    </a:cubicBezTo>
                    <a:cubicBezTo>
                      <a:pt x="816" y="120"/>
                      <a:pt x="809" y="122"/>
                      <a:pt x="809" y="125"/>
                    </a:cubicBezTo>
                    <a:cubicBezTo>
                      <a:pt x="814" y="122"/>
                      <a:pt x="816" y="122"/>
                      <a:pt x="819" y="122"/>
                    </a:cubicBezTo>
                    <a:cubicBezTo>
                      <a:pt x="814" y="127"/>
                      <a:pt x="814" y="127"/>
                      <a:pt x="814" y="127"/>
                    </a:cubicBezTo>
                    <a:cubicBezTo>
                      <a:pt x="816" y="127"/>
                      <a:pt x="821" y="130"/>
                      <a:pt x="821" y="130"/>
                    </a:cubicBezTo>
                    <a:cubicBezTo>
                      <a:pt x="821" y="127"/>
                      <a:pt x="827" y="120"/>
                      <a:pt x="827" y="120"/>
                    </a:cubicBezTo>
                    <a:cubicBezTo>
                      <a:pt x="827" y="112"/>
                      <a:pt x="806" y="107"/>
                      <a:pt x="806" y="101"/>
                    </a:cubicBezTo>
                    <a:cubicBezTo>
                      <a:pt x="803" y="91"/>
                      <a:pt x="829" y="70"/>
                      <a:pt x="798" y="81"/>
                    </a:cubicBezTo>
                    <a:cubicBezTo>
                      <a:pt x="796" y="81"/>
                      <a:pt x="788" y="75"/>
                      <a:pt x="788" y="68"/>
                    </a:cubicBezTo>
                    <a:cubicBezTo>
                      <a:pt x="788" y="65"/>
                      <a:pt x="798" y="60"/>
                      <a:pt x="788" y="60"/>
                    </a:cubicBezTo>
                    <a:cubicBezTo>
                      <a:pt x="783" y="60"/>
                      <a:pt x="757" y="78"/>
                      <a:pt x="765" y="83"/>
                    </a:cubicBezTo>
                    <a:cubicBezTo>
                      <a:pt x="767" y="86"/>
                      <a:pt x="775" y="70"/>
                      <a:pt x="775" y="70"/>
                    </a:cubicBezTo>
                    <a:cubicBezTo>
                      <a:pt x="780" y="68"/>
                      <a:pt x="775" y="83"/>
                      <a:pt x="775" y="83"/>
                    </a:cubicBezTo>
                    <a:cubicBezTo>
                      <a:pt x="780" y="83"/>
                      <a:pt x="783" y="75"/>
                      <a:pt x="785" y="75"/>
                    </a:cubicBezTo>
                    <a:cubicBezTo>
                      <a:pt x="785" y="75"/>
                      <a:pt x="798" y="88"/>
                      <a:pt x="798" y="86"/>
                    </a:cubicBezTo>
                    <a:cubicBezTo>
                      <a:pt x="798" y="109"/>
                      <a:pt x="790" y="83"/>
                      <a:pt x="788" y="83"/>
                    </a:cubicBezTo>
                    <a:cubicBezTo>
                      <a:pt x="785" y="86"/>
                      <a:pt x="788" y="88"/>
                      <a:pt x="785" y="88"/>
                    </a:cubicBezTo>
                    <a:cubicBezTo>
                      <a:pt x="785" y="88"/>
                      <a:pt x="788" y="81"/>
                      <a:pt x="785" y="81"/>
                    </a:cubicBezTo>
                    <a:cubicBezTo>
                      <a:pt x="780" y="78"/>
                      <a:pt x="780" y="88"/>
                      <a:pt x="783" y="91"/>
                    </a:cubicBezTo>
                    <a:cubicBezTo>
                      <a:pt x="780" y="88"/>
                      <a:pt x="762" y="81"/>
                      <a:pt x="762" y="88"/>
                    </a:cubicBezTo>
                    <a:cubicBezTo>
                      <a:pt x="762" y="94"/>
                      <a:pt x="775" y="91"/>
                      <a:pt x="777" y="96"/>
                    </a:cubicBezTo>
                    <a:close/>
                    <a:moveTo>
                      <a:pt x="834" y="171"/>
                    </a:moveTo>
                    <a:cubicBezTo>
                      <a:pt x="837" y="174"/>
                      <a:pt x="840" y="174"/>
                      <a:pt x="840" y="177"/>
                    </a:cubicBezTo>
                    <a:cubicBezTo>
                      <a:pt x="842" y="169"/>
                      <a:pt x="860" y="171"/>
                      <a:pt x="858" y="187"/>
                    </a:cubicBezTo>
                    <a:cubicBezTo>
                      <a:pt x="850" y="184"/>
                      <a:pt x="853" y="187"/>
                      <a:pt x="847" y="187"/>
                    </a:cubicBezTo>
                    <a:cubicBezTo>
                      <a:pt x="847" y="179"/>
                      <a:pt x="847" y="179"/>
                      <a:pt x="847" y="179"/>
                    </a:cubicBezTo>
                    <a:cubicBezTo>
                      <a:pt x="842" y="187"/>
                      <a:pt x="850" y="195"/>
                      <a:pt x="837" y="203"/>
                    </a:cubicBezTo>
                    <a:cubicBezTo>
                      <a:pt x="847" y="203"/>
                      <a:pt x="847" y="203"/>
                      <a:pt x="847" y="203"/>
                    </a:cubicBezTo>
                    <a:cubicBezTo>
                      <a:pt x="850" y="203"/>
                      <a:pt x="878" y="192"/>
                      <a:pt x="881" y="203"/>
                    </a:cubicBezTo>
                    <a:cubicBezTo>
                      <a:pt x="878" y="192"/>
                      <a:pt x="873" y="179"/>
                      <a:pt x="863" y="174"/>
                    </a:cubicBezTo>
                    <a:cubicBezTo>
                      <a:pt x="850" y="171"/>
                      <a:pt x="840" y="151"/>
                      <a:pt x="829" y="148"/>
                    </a:cubicBezTo>
                    <a:cubicBezTo>
                      <a:pt x="829" y="148"/>
                      <a:pt x="832" y="169"/>
                      <a:pt x="830" y="173"/>
                    </a:cubicBezTo>
                    <a:cubicBezTo>
                      <a:pt x="831" y="173"/>
                      <a:pt x="834" y="176"/>
                      <a:pt x="834" y="171"/>
                    </a:cubicBezTo>
                    <a:close/>
                    <a:moveTo>
                      <a:pt x="829" y="174"/>
                    </a:moveTo>
                    <a:cubicBezTo>
                      <a:pt x="829" y="174"/>
                      <a:pt x="830" y="174"/>
                      <a:pt x="830" y="173"/>
                    </a:cubicBezTo>
                    <a:cubicBezTo>
                      <a:pt x="829" y="173"/>
                      <a:pt x="829" y="174"/>
                      <a:pt x="829" y="174"/>
                    </a:cubicBezTo>
                    <a:close/>
                    <a:moveTo>
                      <a:pt x="585" y="188"/>
                    </a:moveTo>
                    <a:cubicBezTo>
                      <a:pt x="588" y="193"/>
                      <a:pt x="590" y="188"/>
                      <a:pt x="593" y="188"/>
                    </a:cubicBezTo>
                    <a:cubicBezTo>
                      <a:pt x="590" y="190"/>
                      <a:pt x="590" y="190"/>
                      <a:pt x="593" y="190"/>
                    </a:cubicBezTo>
                    <a:cubicBezTo>
                      <a:pt x="593" y="190"/>
                      <a:pt x="598" y="180"/>
                      <a:pt x="596" y="180"/>
                    </a:cubicBezTo>
                    <a:cubicBezTo>
                      <a:pt x="596" y="180"/>
                      <a:pt x="580" y="185"/>
                      <a:pt x="585" y="188"/>
                    </a:cubicBezTo>
                    <a:close/>
                    <a:moveTo>
                      <a:pt x="322" y="70"/>
                    </a:moveTo>
                    <a:cubicBezTo>
                      <a:pt x="316" y="78"/>
                      <a:pt x="322" y="75"/>
                      <a:pt x="322" y="75"/>
                    </a:cubicBezTo>
                    <a:cubicBezTo>
                      <a:pt x="322" y="75"/>
                      <a:pt x="327" y="65"/>
                      <a:pt x="322" y="70"/>
                    </a:cubicBezTo>
                    <a:close/>
                    <a:moveTo>
                      <a:pt x="560" y="109"/>
                    </a:moveTo>
                    <a:cubicBezTo>
                      <a:pt x="568" y="117"/>
                      <a:pt x="573" y="120"/>
                      <a:pt x="581" y="120"/>
                    </a:cubicBezTo>
                    <a:cubicBezTo>
                      <a:pt x="581" y="101"/>
                      <a:pt x="547" y="86"/>
                      <a:pt x="550" y="109"/>
                    </a:cubicBezTo>
                    <a:cubicBezTo>
                      <a:pt x="552" y="112"/>
                      <a:pt x="555" y="112"/>
                      <a:pt x="560" y="109"/>
                    </a:cubicBezTo>
                    <a:close/>
                    <a:moveTo>
                      <a:pt x="301" y="86"/>
                    </a:moveTo>
                    <a:cubicBezTo>
                      <a:pt x="301" y="86"/>
                      <a:pt x="311" y="88"/>
                      <a:pt x="306" y="83"/>
                    </a:cubicBezTo>
                    <a:cubicBezTo>
                      <a:pt x="306" y="83"/>
                      <a:pt x="301" y="83"/>
                      <a:pt x="301" y="81"/>
                    </a:cubicBezTo>
                    <a:cubicBezTo>
                      <a:pt x="296" y="83"/>
                      <a:pt x="298" y="86"/>
                      <a:pt x="301" y="86"/>
                    </a:cubicBezTo>
                    <a:close/>
                    <a:moveTo>
                      <a:pt x="757" y="101"/>
                    </a:moveTo>
                    <a:cubicBezTo>
                      <a:pt x="749" y="104"/>
                      <a:pt x="749" y="104"/>
                      <a:pt x="749" y="104"/>
                    </a:cubicBezTo>
                    <a:cubicBezTo>
                      <a:pt x="749" y="104"/>
                      <a:pt x="754" y="107"/>
                      <a:pt x="757" y="101"/>
                    </a:cubicBezTo>
                    <a:close/>
                    <a:moveTo>
                      <a:pt x="190" y="221"/>
                    </a:moveTo>
                    <a:cubicBezTo>
                      <a:pt x="187" y="221"/>
                      <a:pt x="190" y="226"/>
                      <a:pt x="190" y="226"/>
                    </a:cubicBezTo>
                    <a:cubicBezTo>
                      <a:pt x="192" y="226"/>
                      <a:pt x="195" y="223"/>
                      <a:pt x="190" y="221"/>
                    </a:cubicBezTo>
                    <a:close/>
                    <a:moveTo>
                      <a:pt x="158" y="229"/>
                    </a:moveTo>
                    <a:cubicBezTo>
                      <a:pt x="156" y="223"/>
                      <a:pt x="143" y="231"/>
                      <a:pt x="138" y="231"/>
                    </a:cubicBezTo>
                    <a:cubicBezTo>
                      <a:pt x="146" y="231"/>
                      <a:pt x="146" y="231"/>
                      <a:pt x="146" y="231"/>
                    </a:cubicBezTo>
                    <a:cubicBezTo>
                      <a:pt x="148" y="231"/>
                      <a:pt x="153" y="231"/>
                      <a:pt x="158" y="229"/>
                    </a:cubicBezTo>
                    <a:close/>
                    <a:moveTo>
                      <a:pt x="174" y="226"/>
                    </a:moveTo>
                    <a:cubicBezTo>
                      <a:pt x="179" y="226"/>
                      <a:pt x="184" y="229"/>
                      <a:pt x="184" y="223"/>
                    </a:cubicBezTo>
                    <a:cubicBezTo>
                      <a:pt x="184" y="216"/>
                      <a:pt x="158" y="226"/>
                      <a:pt x="161" y="229"/>
                    </a:cubicBezTo>
                    <a:cubicBezTo>
                      <a:pt x="164" y="229"/>
                      <a:pt x="171" y="226"/>
                      <a:pt x="174" y="226"/>
                    </a:cubicBezTo>
                    <a:close/>
                    <a:moveTo>
                      <a:pt x="197" y="226"/>
                    </a:moveTo>
                    <a:cubicBezTo>
                      <a:pt x="200" y="226"/>
                      <a:pt x="208" y="221"/>
                      <a:pt x="210" y="221"/>
                    </a:cubicBezTo>
                    <a:cubicBezTo>
                      <a:pt x="210" y="218"/>
                      <a:pt x="208" y="216"/>
                      <a:pt x="200" y="218"/>
                    </a:cubicBezTo>
                    <a:cubicBezTo>
                      <a:pt x="202" y="218"/>
                      <a:pt x="190" y="226"/>
                      <a:pt x="197" y="226"/>
                    </a:cubicBezTo>
                    <a:close/>
                    <a:moveTo>
                      <a:pt x="234" y="218"/>
                    </a:moveTo>
                    <a:cubicBezTo>
                      <a:pt x="236" y="216"/>
                      <a:pt x="223" y="216"/>
                      <a:pt x="223" y="216"/>
                    </a:cubicBezTo>
                    <a:cubicBezTo>
                      <a:pt x="223" y="216"/>
                      <a:pt x="213" y="216"/>
                      <a:pt x="215" y="221"/>
                    </a:cubicBezTo>
                    <a:cubicBezTo>
                      <a:pt x="221" y="223"/>
                      <a:pt x="228" y="218"/>
                      <a:pt x="234" y="218"/>
                    </a:cubicBezTo>
                    <a:close/>
                    <a:moveTo>
                      <a:pt x="972" y="618"/>
                    </a:moveTo>
                    <a:cubicBezTo>
                      <a:pt x="972" y="600"/>
                      <a:pt x="959" y="603"/>
                      <a:pt x="948" y="597"/>
                    </a:cubicBezTo>
                    <a:cubicBezTo>
                      <a:pt x="938" y="592"/>
                      <a:pt x="954" y="582"/>
                      <a:pt x="948" y="577"/>
                    </a:cubicBezTo>
                    <a:cubicBezTo>
                      <a:pt x="943" y="561"/>
                      <a:pt x="923" y="551"/>
                      <a:pt x="933" y="538"/>
                    </a:cubicBezTo>
                    <a:cubicBezTo>
                      <a:pt x="938" y="530"/>
                      <a:pt x="951" y="504"/>
                      <a:pt x="935" y="501"/>
                    </a:cubicBezTo>
                    <a:cubicBezTo>
                      <a:pt x="933" y="501"/>
                      <a:pt x="943" y="475"/>
                      <a:pt x="933" y="473"/>
                    </a:cubicBezTo>
                    <a:cubicBezTo>
                      <a:pt x="923" y="467"/>
                      <a:pt x="923" y="465"/>
                      <a:pt x="920" y="455"/>
                    </a:cubicBezTo>
                    <a:cubicBezTo>
                      <a:pt x="917" y="439"/>
                      <a:pt x="928" y="444"/>
                      <a:pt x="928" y="434"/>
                    </a:cubicBezTo>
                    <a:cubicBezTo>
                      <a:pt x="928" y="416"/>
                      <a:pt x="894" y="379"/>
                      <a:pt x="871" y="377"/>
                    </a:cubicBezTo>
                    <a:cubicBezTo>
                      <a:pt x="873" y="371"/>
                      <a:pt x="873" y="356"/>
                      <a:pt x="876" y="353"/>
                    </a:cubicBezTo>
                    <a:cubicBezTo>
                      <a:pt x="881" y="345"/>
                      <a:pt x="891" y="345"/>
                      <a:pt x="894" y="335"/>
                    </a:cubicBezTo>
                    <a:cubicBezTo>
                      <a:pt x="899" y="317"/>
                      <a:pt x="904" y="301"/>
                      <a:pt x="894" y="286"/>
                    </a:cubicBezTo>
                    <a:cubicBezTo>
                      <a:pt x="884" y="268"/>
                      <a:pt x="891" y="239"/>
                      <a:pt x="873" y="229"/>
                    </a:cubicBezTo>
                    <a:cubicBezTo>
                      <a:pt x="873" y="226"/>
                      <a:pt x="881" y="223"/>
                      <a:pt x="878" y="221"/>
                    </a:cubicBezTo>
                    <a:cubicBezTo>
                      <a:pt x="876" y="218"/>
                      <a:pt x="863" y="223"/>
                      <a:pt x="853" y="221"/>
                    </a:cubicBezTo>
                    <a:cubicBezTo>
                      <a:pt x="850" y="221"/>
                      <a:pt x="842" y="216"/>
                      <a:pt x="840" y="213"/>
                    </a:cubicBezTo>
                    <a:cubicBezTo>
                      <a:pt x="837" y="210"/>
                      <a:pt x="829" y="208"/>
                      <a:pt x="834" y="200"/>
                    </a:cubicBezTo>
                    <a:cubicBezTo>
                      <a:pt x="845" y="190"/>
                      <a:pt x="834" y="195"/>
                      <a:pt x="834" y="184"/>
                    </a:cubicBezTo>
                    <a:cubicBezTo>
                      <a:pt x="834" y="174"/>
                      <a:pt x="824" y="182"/>
                      <a:pt x="827" y="166"/>
                    </a:cubicBezTo>
                    <a:cubicBezTo>
                      <a:pt x="829" y="161"/>
                      <a:pt x="821" y="161"/>
                      <a:pt x="821" y="153"/>
                    </a:cubicBezTo>
                    <a:cubicBezTo>
                      <a:pt x="821" y="148"/>
                      <a:pt x="796" y="166"/>
                      <a:pt x="796" y="166"/>
                    </a:cubicBezTo>
                    <a:cubicBezTo>
                      <a:pt x="796" y="166"/>
                      <a:pt x="788" y="153"/>
                      <a:pt x="788" y="151"/>
                    </a:cubicBezTo>
                    <a:cubicBezTo>
                      <a:pt x="788" y="151"/>
                      <a:pt x="759" y="138"/>
                      <a:pt x="757" y="132"/>
                    </a:cubicBezTo>
                    <a:cubicBezTo>
                      <a:pt x="757" y="127"/>
                      <a:pt x="749" y="109"/>
                      <a:pt x="749" y="107"/>
                    </a:cubicBezTo>
                    <a:cubicBezTo>
                      <a:pt x="746" y="112"/>
                      <a:pt x="736" y="112"/>
                      <a:pt x="736" y="120"/>
                    </a:cubicBezTo>
                    <a:cubicBezTo>
                      <a:pt x="739" y="130"/>
                      <a:pt x="723" y="120"/>
                      <a:pt x="726" y="120"/>
                    </a:cubicBezTo>
                    <a:cubicBezTo>
                      <a:pt x="720" y="122"/>
                      <a:pt x="713" y="117"/>
                      <a:pt x="708" y="125"/>
                    </a:cubicBezTo>
                    <a:cubicBezTo>
                      <a:pt x="697" y="120"/>
                      <a:pt x="692" y="143"/>
                      <a:pt x="695" y="143"/>
                    </a:cubicBezTo>
                    <a:cubicBezTo>
                      <a:pt x="676" y="143"/>
                      <a:pt x="695" y="130"/>
                      <a:pt x="689" y="130"/>
                    </a:cubicBezTo>
                    <a:cubicBezTo>
                      <a:pt x="687" y="127"/>
                      <a:pt x="702" y="120"/>
                      <a:pt x="708" y="120"/>
                    </a:cubicBezTo>
                    <a:cubicBezTo>
                      <a:pt x="705" y="120"/>
                      <a:pt x="718" y="112"/>
                      <a:pt x="718" y="112"/>
                    </a:cubicBezTo>
                    <a:cubicBezTo>
                      <a:pt x="726" y="112"/>
                      <a:pt x="741" y="117"/>
                      <a:pt x="744" y="107"/>
                    </a:cubicBezTo>
                    <a:cubicBezTo>
                      <a:pt x="741" y="112"/>
                      <a:pt x="726" y="109"/>
                      <a:pt x="715" y="107"/>
                    </a:cubicBezTo>
                    <a:cubicBezTo>
                      <a:pt x="708" y="107"/>
                      <a:pt x="697" y="96"/>
                      <a:pt x="697" y="112"/>
                    </a:cubicBezTo>
                    <a:cubicBezTo>
                      <a:pt x="697" y="120"/>
                      <a:pt x="682" y="122"/>
                      <a:pt x="676" y="127"/>
                    </a:cubicBezTo>
                    <a:cubicBezTo>
                      <a:pt x="669" y="140"/>
                      <a:pt x="664" y="158"/>
                      <a:pt x="656" y="158"/>
                    </a:cubicBezTo>
                    <a:cubicBezTo>
                      <a:pt x="648" y="158"/>
                      <a:pt x="640" y="164"/>
                      <a:pt x="632" y="164"/>
                    </a:cubicBezTo>
                    <a:cubicBezTo>
                      <a:pt x="625" y="164"/>
                      <a:pt x="622" y="158"/>
                      <a:pt x="617" y="161"/>
                    </a:cubicBezTo>
                    <a:cubicBezTo>
                      <a:pt x="614" y="161"/>
                      <a:pt x="594" y="177"/>
                      <a:pt x="596" y="179"/>
                    </a:cubicBezTo>
                    <a:cubicBezTo>
                      <a:pt x="604" y="182"/>
                      <a:pt x="607" y="171"/>
                      <a:pt x="612" y="171"/>
                    </a:cubicBezTo>
                    <a:cubicBezTo>
                      <a:pt x="609" y="171"/>
                      <a:pt x="596" y="190"/>
                      <a:pt x="596" y="192"/>
                    </a:cubicBezTo>
                    <a:cubicBezTo>
                      <a:pt x="594" y="208"/>
                      <a:pt x="594" y="200"/>
                      <a:pt x="586" y="200"/>
                    </a:cubicBezTo>
                    <a:cubicBezTo>
                      <a:pt x="575" y="200"/>
                      <a:pt x="575" y="200"/>
                      <a:pt x="575" y="200"/>
                    </a:cubicBezTo>
                    <a:cubicBezTo>
                      <a:pt x="578" y="200"/>
                      <a:pt x="570" y="187"/>
                      <a:pt x="568" y="184"/>
                    </a:cubicBezTo>
                    <a:cubicBezTo>
                      <a:pt x="565" y="184"/>
                      <a:pt x="550" y="184"/>
                      <a:pt x="547" y="187"/>
                    </a:cubicBezTo>
                    <a:cubicBezTo>
                      <a:pt x="537" y="195"/>
                      <a:pt x="531" y="192"/>
                      <a:pt x="547" y="203"/>
                    </a:cubicBezTo>
                    <a:cubicBezTo>
                      <a:pt x="534" y="195"/>
                      <a:pt x="521" y="221"/>
                      <a:pt x="511" y="221"/>
                    </a:cubicBezTo>
                    <a:cubicBezTo>
                      <a:pt x="506" y="221"/>
                      <a:pt x="534" y="200"/>
                      <a:pt x="534" y="200"/>
                    </a:cubicBezTo>
                    <a:cubicBezTo>
                      <a:pt x="534" y="187"/>
                      <a:pt x="531" y="190"/>
                      <a:pt x="524" y="179"/>
                    </a:cubicBezTo>
                    <a:cubicBezTo>
                      <a:pt x="524" y="179"/>
                      <a:pt x="547" y="161"/>
                      <a:pt x="550" y="161"/>
                    </a:cubicBezTo>
                    <a:cubicBezTo>
                      <a:pt x="563" y="153"/>
                      <a:pt x="555" y="148"/>
                      <a:pt x="555" y="140"/>
                    </a:cubicBezTo>
                    <a:cubicBezTo>
                      <a:pt x="555" y="122"/>
                      <a:pt x="560" y="132"/>
                      <a:pt x="563" y="122"/>
                    </a:cubicBezTo>
                    <a:cubicBezTo>
                      <a:pt x="565" y="117"/>
                      <a:pt x="550" y="125"/>
                      <a:pt x="547" y="125"/>
                    </a:cubicBezTo>
                    <a:cubicBezTo>
                      <a:pt x="547" y="125"/>
                      <a:pt x="542" y="120"/>
                      <a:pt x="531" y="130"/>
                    </a:cubicBezTo>
                    <a:cubicBezTo>
                      <a:pt x="521" y="138"/>
                      <a:pt x="521" y="130"/>
                      <a:pt x="508" y="125"/>
                    </a:cubicBezTo>
                    <a:cubicBezTo>
                      <a:pt x="503" y="120"/>
                      <a:pt x="493" y="117"/>
                      <a:pt x="485" y="112"/>
                    </a:cubicBezTo>
                    <a:cubicBezTo>
                      <a:pt x="469" y="107"/>
                      <a:pt x="474" y="130"/>
                      <a:pt x="464" y="130"/>
                    </a:cubicBezTo>
                    <a:cubicBezTo>
                      <a:pt x="467" y="109"/>
                      <a:pt x="467" y="109"/>
                      <a:pt x="467" y="109"/>
                    </a:cubicBezTo>
                    <a:cubicBezTo>
                      <a:pt x="467" y="99"/>
                      <a:pt x="443" y="109"/>
                      <a:pt x="438" y="107"/>
                    </a:cubicBezTo>
                    <a:cubicBezTo>
                      <a:pt x="446" y="109"/>
                      <a:pt x="459" y="78"/>
                      <a:pt x="449" y="68"/>
                    </a:cubicBezTo>
                    <a:cubicBezTo>
                      <a:pt x="456" y="75"/>
                      <a:pt x="449" y="57"/>
                      <a:pt x="449" y="57"/>
                    </a:cubicBezTo>
                    <a:cubicBezTo>
                      <a:pt x="449" y="44"/>
                      <a:pt x="441" y="55"/>
                      <a:pt x="438" y="55"/>
                    </a:cubicBezTo>
                    <a:cubicBezTo>
                      <a:pt x="428" y="57"/>
                      <a:pt x="415" y="39"/>
                      <a:pt x="410" y="39"/>
                    </a:cubicBezTo>
                    <a:cubicBezTo>
                      <a:pt x="410" y="36"/>
                      <a:pt x="397" y="47"/>
                      <a:pt x="397" y="47"/>
                    </a:cubicBezTo>
                    <a:cubicBezTo>
                      <a:pt x="394" y="31"/>
                      <a:pt x="392" y="42"/>
                      <a:pt x="384" y="47"/>
                    </a:cubicBezTo>
                    <a:cubicBezTo>
                      <a:pt x="373" y="49"/>
                      <a:pt x="376" y="36"/>
                      <a:pt x="371" y="36"/>
                    </a:cubicBezTo>
                    <a:cubicBezTo>
                      <a:pt x="355" y="31"/>
                      <a:pt x="342" y="26"/>
                      <a:pt x="327" y="29"/>
                    </a:cubicBezTo>
                    <a:cubicBezTo>
                      <a:pt x="319" y="29"/>
                      <a:pt x="319" y="21"/>
                      <a:pt x="314" y="31"/>
                    </a:cubicBezTo>
                    <a:cubicBezTo>
                      <a:pt x="311" y="39"/>
                      <a:pt x="324" y="55"/>
                      <a:pt x="322" y="57"/>
                    </a:cubicBezTo>
                    <a:cubicBezTo>
                      <a:pt x="322" y="55"/>
                      <a:pt x="332" y="83"/>
                      <a:pt x="332" y="83"/>
                    </a:cubicBezTo>
                    <a:cubicBezTo>
                      <a:pt x="332" y="83"/>
                      <a:pt x="350" y="88"/>
                      <a:pt x="348" y="94"/>
                    </a:cubicBezTo>
                    <a:cubicBezTo>
                      <a:pt x="342" y="99"/>
                      <a:pt x="329" y="91"/>
                      <a:pt x="329" y="101"/>
                    </a:cubicBezTo>
                    <a:cubicBezTo>
                      <a:pt x="332" y="112"/>
                      <a:pt x="348" y="99"/>
                      <a:pt x="348" y="99"/>
                    </a:cubicBezTo>
                    <a:cubicBezTo>
                      <a:pt x="348" y="99"/>
                      <a:pt x="342" y="109"/>
                      <a:pt x="337" y="117"/>
                    </a:cubicBezTo>
                    <a:cubicBezTo>
                      <a:pt x="337" y="117"/>
                      <a:pt x="309" y="112"/>
                      <a:pt x="314" y="120"/>
                    </a:cubicBezTo>
                    <a:cubicBezTo>
                      <a:pt x="316" y="120"/>
                      <a:pt x="316" y="122"/>
                      <a:pt x="316" y="122"/>
                    </a:cubicBezTo>
                    <a:cubicBezTo>
                      <a:pt x="283" y="135"/>
                      <a:pt x="342" y="143"/>
                      <a:pt x="342" y="132"/>
                    </a:cubicBezTo>
                    <a:cubicBezTo>
                      <a:pt x="342" y="143"/>
                      <a:pt x="324" y="140"/>
                      <a:pt x="332" y="158"/>
                    </a:cubicBezTo>
                    <a:cubicBezTo>
                      <a:pt x="332" y="161"/>
                      <a:pt x="340" y="164"/>
                      <a:pt x="342" y="169"/>
                    </a:cubicBezTo>
                    <a:cubicBezTo>
                      <a:pt x="353" y="182"/>
                      <a:pt x="337" y="174"/>
                      <a:pt x="332" y="179"/>
                    </a:cubicBezTo>
                    <a:cubicBezTo>
                      <a:pt x="329" y="182"/>
                      <a:pt x="335" y="187"/>
                      <a:pt x="337" y="190"/>
                    </a:cubicBezTo>
                    <a:cubicBezTo>
                      <a:pt x="340" y="210"/>
                      <a:pt x="358" y="200"/>
                      <a:pt x="371" y="203"/>
                    </a:cubicBezTo>
                    <a:cubicBezTo>
                      <a:pt x="381" y="205"/>
                      <a:pt x="386" y="213"/>
                      <a:pt x="392" y="223"/>
                    </a:cubicBezTo>
                    <a:cubicBezTo>
                      <a:pt x="397" y="234"/>
                      <a:pt x="412" y="265"/>
                      <a:pt x="428" y="262"/>
                    </a:cubicBezTo>
                    <a:cubicBezTo>
                      <a:pt x="405" y="265"/>
                      <a:pt x="392" y="242"/>
                      <a:pt x="384" y="221"/>
                    </a:cubicBezTo>
                    <a:cubicBezTo>
                      <a:pt x="376" y="192"/>
                      <a:pt x="350" y="221"/>
                      <a:pt x="332" y="213"/>
                    </a:cubicBezTo>
                    <a:cubicBezTo>
                      <a:pt x="309" y="203"/>
                      <a:pt x="314" y="200"/>
                      <a:pt x="298" y="226"/>
                    </a:cubicBezTo>
                    <a:cubicBezTo>
                      <a:pt x="291" y="242"/>
                      <a:pt x="311" y="255"/>
                      <a:pt x="306" y="262"/>
                    </a:cubicBezTo>
                    <a:cubicBezTo>
                      <a:pt x="306" y="265"/>
                      <a:pt x="293" y="286"/>
                      <a:pt x="296" y="286"/>
                    </a:cubicBezTo>
                    <a:cubicBezTo>
                      <a:pt x="291" y="286"/>
                      <a:pt x="296" y="268"/>
                      <a:pt x="296" y="268"/>
                    </a:cubicBezTo>
                    <a:cubicBezTo>
                      <a:pt x="298" y="257"/>
                      <a:pt x="296" y="260"/>
                      <a:pt x="285" y="257"/>
                    </a:cubicBezTo>
                    <a:cubicBezTo>
                      <a:pt x="280" y="255"/>
                      <a:pt x="278" y="239"/>
                      <a:pt x="272" y="255"/>
                    </a:cubicBezTo>
                    <a:cubicBezTo>
                      <a:pt x="267" y="265"/>
                      <a:pt x="272" y="262"/>
                      <a:pt x="278" y="262"/>
                    </a:cubicBezTo>
                    <a:cubicBezTo>
                      <a:pt x="280" y="262"/>
                      <a:pt x="275" y="281"/>
                      <a:pt x="275" y="281"/>
                    </a:cubicBezTo>
                    <a:cubicBezTo>
                      <a:pt x="270" y="291"/>
                      <a:pt x="265" y="275"/>
                      <a:pt x="257" y="273"/>
                    </a:cubicBezTo>
                    <a:cubicBezTo>
                      <a:pt x="254" y="273"/>
                      <a:pt x="244" y="270"/>
                      <a:pt x="257" y="265"/>
                    </a:cubicBezTo>
                    <a:cubicBezTo>
                      <a:pt x="272" y="257"/>
                      <a:pt x="247" y="229"/>
                      <a:pt x="239" y="229"/>
                    </a:cubicBezTo>
                    <a:cubicBezTo>
                      <a:pt x="226" y="226"/>
                      <a:pt x="210" y="234"/>
                      <a:pt x="197" y="234"/>
                    </a:cubicBezTo>
                    <a:cubicBezTo>
                      <a:pt x="192" y="234"/>
                      <a:pt x="184" y="231"/>
                      <a:pt x="174" y="231"/>
                    </a:cubicBezTo>
                    <a:cubicBezTo>
                      <a:pt x="164" y="231"/>
                      <a:pt x="151" y="249"/>
                      <a:pt x="156" y="257"/>
                    </a:cubicBezTo>
                    <a:cubicBezTo>
                      <a:pt x="153" y="257"/>
                      <a:pt x="156" y="260"/>
                      <a:pt x="153" y="262"/>
                    </a:cubicBezTo>
                    <a:cubicBezTo>
                      <a:pt x="148" y="257"/>
                      <a:pt x="151" y="260"/>
                      <a:pt x="146" y="257"/>
                    </a:cubicBezTo>
                    <a:cubicBezTo>
                      <a:pt x="148" y="268"/>
                      <a:pt x="146" y="281"/>
                      <a:pt x="143" y="291"/>
                    </a:cubicBezTo>
                    <a:cubicBezTo>
                      <a:pt x="169" y="294"/>
                      <a:pt x="161" y="296"/>
                      <a:pt x="164" y="314"/>
                    </a:cubicBezTo>
                    <a:cubicBezTo>
                      <a:pt x="164" y="322"/>
                      <a:pt x="158" y="335"/>
                      <a:pt x="158" y="343"/>
                    </a:cubicBezTo>
                    <a:cubicBezTo>
                      <a:pt x="161" y="353"/>
                      <a:pt x="153" y="366"/>
                      <a:pt x="148" y="374"/>
                    </a:cubicBezTo>
                    <a:cubicBezTo>
                      <a:pt x="140" y="384"/>
                      <a:pt x="148" y="405"/>
                      <a:pt x="135" y="410"/>
                    </a:cubicBezTo>
                    <a:cubicBezTo>
                      <a:pt x="127" y="413"/>
                      <a:pt x="96" y="395"/>
                      <a:pt x="109" y="418"/>
                    </a:cubicBezTo>
                    <a:cubicBezTo>
                      <a:pt x="86" y="429"/>
                      <a:pt x="122" y="455"/>
                      <a:pt x="130" y="436"/>
                    </a:cubicBezTo>
                    <a:cubicBezTo>
                      <a:pt x="146" y="452"/>
                      <a:pt x="127" y="467"/>
                      <a:pt x="140" y="475"/>
                    </a:cubicBezTo>
                    <a:cubicBezTo>
                      <a:pt x="135" y="478"/>
                      <a:pt x="117" y="496"/>
                      <a:pt x="117" y="496"/>
                    </a:cubicBezTo>
                    <a:cubicBezTo>
                      <a:pt x="107" y="496"/>
                      <a:pt x="102" y="501"/>
                      <a:pt x="96" y="509"/>
                    </a:cubicBezTo>
                    <a:cubicBezTo>
                      <a:pt x="117" y="509"/>
                      <a:pt x="107" y="535"/>
                      <a:pt x="102" y="532"/>
                    </a:cubicBezTo>
                    <a:cubicBezTo>
                      <a:pt x="89" y="522"/>
                      <a:pt x="78" y="540"/>
                      <a:pt x="68" y="538"/>
                    </a:cubicBezTo>
                    <a:cubicBezTo>
                      <a:pt x="68" y="543"/>
                      <a:pt x="68" y="543"/>
                      <a:pt x="68" y="543"/>
                    </a:cubicBezTo>
                    <a:cubicBezTo>
                      <a:pt x="60" y="538"/>
                      <a:pt x="45" y="532"/>
                      <a:pt x="34" y="532"/>
                    </a:cubicBezTo>
                    <a:cubicBezTo>
                      <a:pt x="37" y="535"/>
                      <a:pt x="37" y="540"/>
                      <a:pt x="39" y="543"/>
                    </a:cubicBezTo>
                    <a:cubicBezTo>
                      <a:pt x="32" y="538"/>
                      <a:pt x="26" y="540"/>
                      <a:pt x="19" y="540"/>
                    </a:cubicBezTo>
                    <a:cubicBezTo>
                      <a:pt x="19" y="540"/>
                      <a:pt x="26" y="566"/>
                      <a:pt x="26" y="561"/>
                    </a:cubicBezTo>
                    <a:cubicBezTo>
                      <a:pt x="26" y="571"/>
                      <a:pt x="32" y="582"/>
                      <a:pt x="37" y="590"/>
                    </a:cubicBezTo>
                    <a:cubicBezTo>
                      <a:pt x="42" y="597"/>
                      <a:pt x="42" y="610"/>
                      <a:pt x="42" y="621"/>
                    </a:cubicBezTo>
                    <a:cubicBezTo>
                      <a:pt x="42" y="634"/>
                      <a:pt x="21" y="636"/>
                      <a:pt x="26" y="657"/>
                    </a:cubicBezTo>
                    <a:cubicBezTo>
                      <a:pt x="34" y="655"/>
                      <a:pt x="34" y="655"/>
                      <a:pt x="34" y="655"/>
                    </a:cubicBezTo>
                    <a:cubicBezTo>
                      <a:pt x="32" y="667"/>
                      <a:pt x="16" y="665"/>
                      <a:pt x="13" y="678"/>
                    </a:cubicBezTo>
                    <a:cubicBezTo>
                      <a:pt x="11" y="675"/>
                      <a:pt x="11" y="673"/>
                      <a:pt x="8" y="670"/>
                    </a:cubicBezTo>
                    <a:cubicBezTo>
                      <a:pt x="0" y="673"/>
                      <a:pt x="0" y="680"/>
                      <a:pt x="3" y="686"/>
                    </a:cubicBezTo>
                    <a:cubicBezTo>
                      <a:pt x="21" y="680"/>
                      <a:pt x="21" y="699"/>
                      <a:pt x="24" y="709"/>
                    </a:cubicBezTo>
                    <a:cubicBezTo>
                      <a:pt x="19" y="709"/>
                      <a:pt x="16" y="712"/>
                      <a:pt x="11" y="717"/>
                    </a:cubicBezTo>
                    <a:cubicBezTo>
                      <a:pt x="13" y="727"/>
                      <a:pt x="29" y="748"/>
                      <a:pt x="39" y="751"/>
                    </a:cubicBezTo>
                    <a:cubicBezTo>
                      <a:pt x="37" y="753"/>
                      <a:pt x="29" y="758"/>
                      <a:pt x="29" y="761"/>
                    </a:cubicBezTo>
                    <a:cubicBezTo>
                      <a:pt x="29" y="777"/>
                      <a:pt x="39" y="766"/>
                      <a:pt x="45" y="774"/>
                    </a:cubicBezTo>
                    <a:cubicBezTo>
                      <a:pt x="47" y="777"/>
                      <a:pt x="55" y="797"/>
                      <a:pt x="52" y="802"/>
                    </a:cubicBezTo>
                    <a:cubicBezTo>
                      <a:pt x="47" y="805"/>
                      <a:pt x="34" y="808"/>
                      <a:pt x="29" y="815"/>
                    </a:cubicBezTo>
                    <a:cubicBezTo>
                      <a:pt x="24" y="821"/>
                      <a:pt x="21" y="834"/>
                      <a:pt x="21" y="841"/>
                    </a:cubicBezTo>
                    <a:cubicBezTo>
                      <a:pt x="21" y="860"/>
                      <a:pt x="32" y="886"/>
                      <a:pt x="45" y="883"/>
                    </a:cubicBezTo>
                    <a:cubicBezTo>
                      <a:pt x="47" y="896"/>
                      <a:pt x="63" y="886"/>
                      <a:pt x="60" y="906"/>
                    </a:cubicBezTo>
                    <a:cubicBezTo>
                      <a:pt x="57" y="909"/>
                      <a:pt x="45" y="922"/>
                      <a:pt x="42" y="925"/>
                    </a:cubicBezTo>
                    <a:cubicBezTo>
                      <a:pt x="37" y="927"/>
                      <a:pt x="39" y="935"/>
                      <a:pt x="39" y="940"/>
                    </a:cubicBezTo>
                    <a:cubicBezTo>
                      <a:pt x="37" y="953"/>
                      <a:pt x="47" y="945"/>
                      <a:pt x="60" y="956"/>
                    </a:cubicBezTo>
                    <a:cubicBezTo>
                      <a:pt x="63" y="958"/>
                      <a:pt x="63" y="966"/>
                      <a:pt x="57" y="969"/>
                    </a:cubicBezTo>
                    <a:cubicBezTo>
                      <a:pt x="60" y="966"/>
                      <a:pt x="76" y="995"/>
                      <a:pt x="76" y="992"/>
                    </a:cubicBezTo>
                    <a:cubicBezTo>
                      <a:pt x="78" y="997"/>
                      <a:pt x="73" y="1000"/>
                      <a:pt x="81" y="1002"/>
                    </a:cubicBezTo>
                    <a:cubicBezTo>
                      <a:pt x="89" y="1002"/>
                      <a:pt x="94" y="1002"/>
                      <a:pt x="89" y="995"/>
                    </a:cubicBezTo>
                    <a:cubicBezTo>
                      <a:pt x="96" y="995"/>
                      <a:pt x="109" y="997"/>
                      <a:pt x="109" y="1002"/>
                    </a:cubicBezTo>
                    <a:cubicBezTo>
                      <a:pt x="112" y="1021"/>
                      <a:pt x="114" y="1005"/>
                      <a:pt x="120" y="1005"/>
                    </a:cubicBezTo>
                    <a:cubicBezTo>
                      <a:pt x="120" y="1005"/>
                      <a:pt x="135" y="1013"/>
                      <a:pt x="140" y="1013"/>
                    </a:cubicBezTo>
                    <a:cubicBezTo>
                      <a:pt x="143" y="1013"/>
                      <a:pt x="143" y="1010"/>
                      <a:pt x="151" y="1008"/>
                    </a:cubicBezTo>
                    <a:cubicBezTo>
                      <a:pt x="151" y="1008"/>
                      <a:pt x="146" y="1005"/>
                      <a:pt x="153" y="1005"/>
                    </a:cubicBezTo>
                    <a:cubicBezTo>
                      <a:pt x="156" y="1005"/>
                      <a:pt x="158" y="1008"/>
                      <a:pt x="161" y="1008"/>
                    </a:cubicBezTo>
                    <a:cubicBezTo>
                      <a:pt x="156" y="1008"/>
                      <a:pt x="166" y="1021"/>
                      <a:pt x="169" y="1021"/>
                    </a:cubicBezTo>
                    <a:cubicBezTo>
                      <a:pt x="174" y="1023"/>
                      <a:pt x="200" y="1036"/>
                      <a:pt x="202" y="1031"/>
                    </a:cubicBezTo>
                    <a:cubicBezTo>
                      <a:pt x="210" y="1023"/>
                      <a:pt x="234" y="1041"/>
                      <a:pt x="241" y="1044"/>
                    </a:cubicBezTo>
                    <a:cubicBezTo>
                      <a:pt x="231" y="1049"/>
                      <a:pt x="234" y="1065"/>
                      <a:pt x="228" y="1073"/>
                    </a:cubicBezTo>
                    <a:cubicBezTo>
                      <a:pt x="223" y="1078"/>
                      <a:pt x="210" y="1075"/>
                      <a:pt x="208" y="1086"/>
                    </a:cubicBezTo>
                    <a:cubicBezTo>
                      <a:pt x="195" y="1104"/>
                      <a:pt x="195" y="1104"/>
                      <a:pt x="195" y="1104"/>
                    </a:cubicBezTo>
                    <a:cubicBezTo>
                      <a:pt x="182" y="1143"/>
                      <a:pt x="182" y="1143"/>
                      <a:pt x="182" y="1143"/>
                    </a:cubicBezTo>
                    <a:cubicBezTo>
                      <a:pt x="184" y="1150"/>
                      <a:pt x="179" y="1161"/>
                      <a:pt x="171" y="1169"/>
                    </a:cubicBezTo>
                    <a:cubicBezTo>
                      <a:pt x="166" y="1176"/>
                      <a:pt x="166" y="1208"/>
                      <a:pt x="164" y="1213"/>
                    </a:cubicBezTo>
                    <a:cubicBezTo>
                      <a:pt x="156" y="1234"/>
                      <a:pt x="151" y="1262"/>
                      <a:pt x="161" y="1278"/>
                    </a:cubicBezTo>
                    <a:cubicBezTo>
                      <a:pt x="164" y="1278"/>
                      <a:pt x="169" y="1280"/>
                      <a:pt x="171" y="1280"/>
                    </a:cubicBezTo>
                    <a:cubicBezTo>
                      <a:pt x="169" y="1280"/>
                      <a:pt x="166" y="1280"/>
                      <a:pt x="166" y="1283"/>
                    </a:cubicBezTo>
                    <a:cubicBezTo>
                      <a:pt x="174" y="1291"/>
                      <a:pt x="187" y="1275"/>
                      <a:pt x="213" y="1285"/>
                    </a:cubicBezTo>
                    <a:cubicBezTo>
                      <a:pt x="223" y="1291"/>
                      <a:pt x="228" y="1275"/>
                      <a:pt x="241" y="1278"/>
                    </a:cubicBezTo>
                    <a:cubicBezTo>
                      <a:pt x="249" y="1278"/>
                      <a:pt x="252" y="1288"/>
                      <a:pt x="267" y="1283"/>
                    </a:cubicBezTo>
                    <a:cubicBezTo>
                      <a:pt x="267" y="1275"/>
                      <a:pt x="272" y="1273"/>
                      <a:pt x="275" y="1280"/>
                    </a:cubicBezTo>
                    <a:cubicBezTo>
                      <a:pt x="293" y="1267"/>
                      <a:pt x="270" y="1273"/>
                      <a:pt x="267" y="1270"/>
                    </a:cubicBezTo>
                    <a:cubicBezTo>
                      <a:pt x="262" y="1267"/>
                      <a:pt x="257" y="1273"/>
                      <a:pt x="257" y="1265"/>
                    </a:cubicBezTo>
                    <a:cubicBezTo>
                      <a:pt x="254" y="1254"/>
                      <a:pt x="270" y="1249"/>
                      <a:pt x="275" y="1247"/>
                    </a:cubicBezTo>
                    <a:cubicBezTo>
                      <a:pt x="275" y="1247"/>
                      <a:pt x="280" y="1244"/>
                      <a:pt x="283" y="1249"/>
                    </a:cubicBezTo>
                    <a:cubicBezTo>
                      <a:pt x="291" y="1244"/>
                      <a:pt x="293" y="1257"/>
                      <a:pt x="298" y="1267"/>
                    </a:cubicBezTo>
                    <a:cubicBezTo>
                      <a:pt x="301" y="1265"/>
                      <a:pt x="301" y="1257"/>
                      <a:pt x="301" y="1254"/>
                    </a:cubicBezTo>
                    <a:cubicBezTo>
                      <a:pt x="306" y="1262"/>
                      <a:pt x="309" y="1270"/>
                      <a:pt x="314" y="1273"/>
                    </a:cubicBezTo>
                    <a:cubicBezTo>
                      <a:pt x="316" y="1273"/>
                      <a:pt x="327" y="1265"/>
                      <a:pt x="335" y="1267"/>
                    </a:cubicBezTo>
                    <a:cubicBezTo>
                      <a:pt x="342" y="1270"/>
                      <a:pt x="353" y="1273"/>
                      <a:pt x="360" y="1275"/>
                    </a:cubicBezTo>
                    <a:cubicBezTo>
                      <a:pt x="379" y="1280"/>
                      <a:pt x="381" y="1291"/>
                      <a:pt x="402" y="1293"/>
                    </a:cubicBezTo>
                    <a:cubicBezTo>
                      <a:pt x="412" y="1293"/>
                      <a:pt x="407" y="1280"/>
                      <a:pt x="417" y="1285"/>
                    </a:cubicBezTo>
                    <a:cubicBezTo>
                      <a:pt x="420" y="1285"/>
                      <a:pt x="433" y="1296"/>
                      <a:pt x="441" y="1304"/>
                    </a:cubicBezTo>
                    <a:cubicBezTo>
                      <a:pt x="449" y="1311"/>
                      <a:pt x="446" y="1311"/>
                      <a:pt x="451" y="1324"/>
                    </a:cubicBezTo>
                    <a:cubicBezTo>
                      <a:pt x="451" y="1322"/>
                      <a:pt x="459" y="1317"/>
                      <a:pt x="461" y="1319"/>
                    </a:cubicBezTo>
                    <a:cubicBezTo>
                      <a:pt x="469" y="1322"/>
                      <a:pt x="459" y="1335"/>
                      <a:pt x="459" y="1337"/>
                    </a:cubicBezTo>
                    <a:cubicBezTo>
                      <a:pt x="469" y="1335"/>
                      <a:pt x="493" y="1324"/>
                      <a:pt x="495" y="1311"/>
                    </a:cubicBezTo>
                    <a:cubicBezTo>
                      <a:pt x="495" y="1299"/>
                      <a:pt x="485" y="1291"/>
                      <a:pt x="495" y="1286"/>
                    </a:cubicBezTo>
                    <a:cubicBezTo>
                      <a:pt x="493" y="1288"/>
                      <a:pt x="498" y="1303"/>
                      <a:pt x="503" y="1291"/>
                    </a:cubicBezTo>
                    <a:cubicBezTo>
                      <a:pt x="508" y="1285"/>
                      <a:pt x="542" y="1293"/>
                      <a:pt x="539" y="1293"/>
                    </a:cubicBezTo>
                    <a:cubicBezTo>
                      <a:pt x="544" y="1296"/>
                      <a:pt x="542" y="1298"/>
                      <a:pt x="539" y="1304"/>
                    </a:cubicBezTo>
                    <a:cubicBezTo>
                      <a:pt x="544" y="1306"/>
                      <a:pt x="550" y="1311"/>
                      <a:pt x="550" y="1319"/>
                    </a:cubicBezTo>
                    <a:cubicBezTo>
                      <a:pt x="563" y="1319"/>
                      <a:pt x="573" y="1317"/>
                      <a:pt x="581" y="1311"/>
                    </a:cubicBezTo>
                    <a:cubicBezTo>
                      <a:pt x="578" y="1319"/>
                      <a:pt x="578" y="1319"/>
                      <a:pt x="578" y="1319"/>
                    </a:cubicBezTo>
                    <a:cubicBezTo>
                      <a:pt x="588" y="1317"/>
                      <a:pt x="591" y="1306"/>
                      <a:pt x="604" y="1311"/>
                    </a:cubicBezTo>
                    <a:cubicBezTo>
                      <a:pt x="604" y="1309"/>
                      <a:pt x="599" y="1306"/>
                      <a:pt x="599" y="1306"/>
                    </a:cubicBezTo>
                    <a:cubicBezTo>
                      <a:pt x="604" y="1298"/>
                      <a:pt x="619" y="1288"/>
                      <a:pt x="625" y="1285"/>
                    </a:cubicBezTo>
                    <a:cubicBezTo>
                      <a:pt x="635" y="1283"/>
                      <a:pt x="648" y="1283"/>
                      <a:pt x="656" y="1280"/>
                    </a:cubicBezTo>
                    <a:cubicBezTo>
                      <a:pt x="661" y="1280"/>
                      <a:pt x="689" y="1283"/>
                      <a:pt x="692" y="1280"/>
                    </a:cubicBezTo>
                    <a:cubicBezTo>
                      <a:pt x="700" y="1273"/>
                      <a:pt x="679" y="1267"/>
                      <a:pt x="697" y="1254"/>
                    </a:cubicBezTo>
                    <a:cubicBezTo>
                      <a:pt x="697" y="1270"/>
                      <a:pt x="697" y="1270"/>
                      <a:pt x="697" y="1270"/>
                    </a:cubicBezTo>
                    <a:cubicBezTo>
                      <a:pt x="710" y="1265"/>
                      <a:pt x="718" y="1270"/>
                      <a:pt x="731" y="1278"/>
                    </a:cubicBezTo>
                    <a:cubicBezTo>
                      <a:pt x="741" y="1285"/>
                      <a:pt x="744" y="1257"/>
                      <a:pt x="762" y="1267"/>
                    </a:cubicBezTo>
                    <a:cubicBezTo>
                      <a:pt x="759" y="1270"/>
                      <a:pt x="757" y="1285"/>
                      <a:pt x="759" y="1288"/>
                    </a:cubicBezTo>
                    <a:cubicBezTo>
                      <a:pt x="762" y="1293"/>
                      <a:pt x="785" y="1304"/>
                      <a:pt x="790" y="1298"/>
                    </a:cubicBezTo>
                    <a:cubicBezTo>
                      <a:pt x="793" y="1293"/>
                      <a:pt x="796" y="1273"/>
                      <a:pt x="796" y="1270"/>
                    </a:cubicBezTo>
                    <a:cubicBezTo>
                      <a:pt x="790" y="1262"/>
                      <a:pt x="788" y="1257"/>
                      <a:pt x="775" y="1262"/>
                    </a:cubicBezTo>
                    <a:cubicBezTo>
                      <a:pt x="777" y="1244"/>
                      <a:pt x="790" y="1241"/>
                      <a:pt x="780" y="1226"/>
                    </a:cubicBezTo>
                    <a:cubicBezTo>
                      <a:pt x="775" y="1215"/>
                      <a:pt x="767" y="1215"/>
                      <a:pt x="765" y="1208"/>
                    </a:cubicBezTo>
                    <a:cubicBezTo>
                      <a:pt x="762" y="1202"/>
                      <a:pt x="746" y="1195"/>
                      <a:pt x="757" y="1189"/>
                    </a:cubicBezTo>
                    <a:cubicBezTo>
                      <a:pt x="767" y="1187"/>
                      <a:pt x="780" y="1166"/>
                      <a:pt x="785" y="1163"/>
                    </a:cubicBezTo>
                    <a:cubicBezTo>
                      <a:pt x="793" y="1161"/>
                      <a:pt x="801" y="1158"/>
                      <a:pt x="809" y="1158"/>
                    </a:cubicBezTo>
                    <a:cubicBezTo>
                      <a:pt x="827" y="1158"/>
                      <a:pt x="834" y="1125"/>
                      <a:pt x="829" y="1114"/>
                    </a:cubicBezTo>
                    <a:cubicBezTo>
                      <a:pt x="840" y="1109"/>
                      <a:pt x="847" y="1109"/>
                      <a:pt x="863" y="1119"/>
                    </a:cubicBezTo>
                    <a:cubicBezTo>
                      <a:pt x="868" y="1112"/>
                      <a:pt x="873" y="1099"/>
                      <a:pt x="873" y="1086"/>
                    </a:cubicBezTo>
                    <a:cubicBezTo>
                      <a:pt x="871" y="1070"/>
                      <a:pt x="858" y="1060"/>
                      <a:pt x="850" y="1047"/>
                    </a:cubicBezTo>
                    <a:cubicBezTo>
                      <a:pt x="842" y="1034"/>
                      <a:pt x="827" y="1052"/>
                      <a:pt x="824" y="1031"/>
                    </a:cubicBezTo>
                    <a:cubicBezTo>
                      <a:pt x="824" y="1021"/>
                      <a:pt x="809" y="1018"/>
                      <a:pt x="801" y="1018"/>
                    </a:cubicBezTo>
                    <a:cubicBezTo>
                      <a:pt x="798" y="1018"/>
                      <a:pt x="775" y="984"/>
                      <a:pt x="757" y="982"/>
                    </a:cubicBezTo>
                    <a:cubicBezTo>
                      <a:pt x="746" y="979"/>
                      <a:pt x="733" y="956"/>
                      <a:pt x="731" y="948"/>
                    </a:cubicBezTo>
                    <a:cubicBezTo>
                      <a:pt x="726" y="940"/>
                      <a:pt x="726" y="930"/>
                      <a:pt x="720" y="922"/>
                    </a:cubicBezTo>
                    <a:cubicBezTo>
                      <a:pt x="718" y="919"/>
                      <a:pt x="708" y="919"/>
                      <a:pt x="708" y="909"/>
                    </a:cubicBezTo>
                    <a:cubicBezTo>
                      <a:pt x="715" y="899"/>
                      <a:pt x="715" y="899"/>
                      <a:pt x="715" y="899"/>
                    </a:cubicBezTo>
                    <a:cubicBezTo>
                      <a:pt x="718" y="899"/>
                      <a:pt x="720" y="886"/>
                      <a:pt x="720" y="880"/>
                    </a:cubicBezTo>
                    <a:cubicBezTo>
                      <a:pt x="718" y="880"/>
                      <a:pt x="715" y="878"/>
                      <a:pt x="713" y="878"/>
                    </a:cubicBezTo>
                    <a:cubicBezTo>
                      <a:pt x="718" y="867"/>
                      <a:pt x="695" y="862"/>
                      <a:pt x="689" y="854"/>
                    </a:cubicBezTo>
                    <a:cubicBezTo>
                      <a:pt x="682" y="844"/>
                      <a:pt x="671" y="828"/>
                      <a:pt x="671" y="815"/>
                    </a:cubicBezTo>
                    <a:cubicBezTo>
                      <a:pt x="676" y="815"/>
                      <a:pt x="676" y="815"/>
                      <a:pt x="676" y="815"/>
                    </a:cubicBezTo>
                    <a:cubicBezTo>
                      <a:pt x="679" y="821"/>
                      <a:pt x="695" y="841"/>
                      <a:pt x="697" y="841"/>
                    </a:cubicBezTo>
                    <a:cubicBezTo>
                      <a:pt x="700" y="839"/>
                      <a:pt x="708" y="815"/>
                      <a:pt x="713" y="808"/>
                    </a:cubicBezTo>
                    <a:cubicBezTo>
                      <a:pt x="718" y="805"/>
                      <a:pt x="720" y="792"/>
                      <a:pt x="736" y="800"/>
                    </a:cubicBezTo>
                    <a:cubicBezTo>
                      <a:pt x="736" y="800"/>
                      <a:pt x="746" y="795"/>
                      <a:pt x="749" y="795"/>
                    </a:cubicBezTo>
                    <a:cubicBezTo>
                      <a:pt x="757" y="790"/>
                      <a:pt x="775" y="805"/>
                      <a:pt x="777" y="782"/>
                    </a:cubicBezTo>
                    <a:cubicBezTo>
                      <a:pt x="783" y="784"/>
                      <a:pt x="788" y="782"/>
                      <a:pt x="793" y="777"/>
                    </a:cubicBezTo>
                    <a:cubicBezTo>
                      <a:pt x="801" y="764"/>
                      <a:pt x="809" y="758"/>
                      <a:pt x="809" y="758"/>
                    </a:cubicBezTo>
                    <a:cubicBezTo>
                      <a:pt x="821" y="771"/>
                      <a:pt x="827" y="745"/>
                      <a:pt x="837" y="740"/>
                    </a:cubicBezTo>
                    <a:cubicBezTo>
                      <a:pt x="842" y="738"/>
                      <a:pt x="863" y="727"/>
                      <a:pt x="871" y="727"/>
                    </a:cubicBezTo>
                    <a:cubicBezTo>
                      <a:pt x="878" y="727"/>
                      <a:pt x="889" y="717"/>
                      <a:pt x="902" y="712"/>
                    </a:cubicBezTo>
                    <a:cubicBezTo>
                      <a:pt x="910" y="706"/>
                      <a:pt x="917" y="712"/>
                      <a:pt x="917" y="701"/>
                    </a:cubicBezTo>
                    <a:cubicBezTo>
                      <a:pt x="917" y="699"/>
                      <a:pt x="904" y="693"/>
                      <a:pt x="902" y="693"/>
                    </a:cubicBezTo>
                    <a:cubicBezTo>
                      <a:pt x="902" y="691"/>
                      <a:pt x="904" y="683"/>
                      <a:pt x="907" y="680"/>
                    </a:cubicBezTo>
                    <a:cubicBezTo>
                      <a:pt x="915" y="686"/>
                      <a:pt x="948" y="683"/>
                      <a:pt x="933" y="704"/>
                    </a:cubicBezTo>
                    <a:cubicBezTo>
                      <a:pt x="935" y="704"/>
                      <a:pt x="943" y="704"/>
                      <a:pt x="946" y="701"/>
                    </a:cubicBezTo>
                    <a:cubicBezTo>
                      <a:pt x="933" y="717"/>
                      <a:pt x="948" y="712"/>
                      <a:pt x="956" y="717"/>
                    </a:cubicBezTo>
                    <a:cubicBezTo>
                      <a:pt x="964" y="722"/>
                      <a:pt x="964" y="706"/>
                      <a:pt x="967" y="704"/>
                    </a:cubicBezTo>
                    <a:cubicBezTo>
                      <a:pt x="974" y="699"/>
                      <a:pt x="979" y="670"/>
                      <a:pt x="979" y="660"/>
                    </a:cubicBezTo>
                    <a:cubicBezTo>
                      <a:pt x="987" y="642"/>
                      <a:pt x="972" y="634"/>
                      <a:pt x="972" y="618"/>
                    </a:cubicBezTo>
                    <a:close/>
                    <a:moveTo>
                      <a:pt x="322" y="174"/>
                    </a:moveTo>
                    <a:cubicBezTo>
                      <a:pt x="322" y="169"/>
                      <a:pt x="322" y="169"/>
                      <a:pt x="322" y="169"/>
                    </a:cubicBezTo>
                    <a:cubicBezTo>
                      <a:pt x="322" y="169"/>
                      <a:pt x="319" y="166"/>
                      <a:pt x="319" y="171"/>
                    </a:cubicBezTo>
                    <a:cubicBezTo>
                      <a:pt x="319" y="177"/>
                      <a:pt x="322" y="174"/>
                      <a:pt x="322" y="174"/>
                    </a:cubicBezTo>
                    <a:close/>
                    <a:moveTo>
                      <a:pt x="138" y="234"/>
                    </a:moveTo>
                    <a:cubicBezTo>
                      <a:pt x="135" y="231"/>
                      <a:pt x="130" y="234"/>
                      <a:pt x="135" y="239"/>
                    </a:cubicBezTo>
                    <a:cubicBezTo>
                      <a:pt x="138" y="242"/>
                      <a:pt x="138" y="234"/>
                      <a:pt x="138" y="234"/>
                    </a:cubicBezTo>
                    <a:close/>
                    <a:moveTo>
                      <a:pt x="329" y="86"/>
                    </a:moveTo>
                    <a:cubicBezTo>
                      <a:pt x="329" y="88"/>
                      <a:pt x="324" y="86"/>
                      <a:pt x="329" y="88"/>
                    </a:cubicBezTo>
                    <a:cubicBezTo>
                      <a:pt x="335" y="88"/>
                      <a:pt x="335" y="88"/>
                      <a:pt x="329" y="86"/>
                    </a:cubicBezTo>
                    <a:close/>
                    <a:moveTo>
                      <a:pt x="247" y="218"/>
                    </a:moveTo>
                    <a:cubicBezTo>
                      <a:pt x="252" y="213"/>
                      <a:pt x="228" y="216"/>
                      <a:pt x="239" y="216"/>
                    </a:cubicBezTo>
                    <a:cubicBezTo>
                      <a:pt x="241" y="218"/>
                      <a:pt x="244" y="218"/>
                      <a:pt x="247" y="218"/>
                    </a:cubicBezTo>
                    <a:close/>
                    <a:moveTo>
                      <a:pt x="244" y="148"/>
                    </a:moveTo>
                    <a:cubicBezTo>
                      <a:pt x="247" y="148"/>
                      <a:pt x="247" y="145"/>
                      <a:pt x="244" y="145"/>
                    </a:cubicBezTo>
                    <a:cubicBezTo>
                      <a:pt x="244" y="145"/>
                      <a:pt x="241" y="148"/>
                      <a:pt x="244" y="148"/>
                    </a:cubicBezTo>
                    <a:close/>
                    <a:moveTo>
                      <a:pt x="288" y="78"/>
                    </a:moveTo>
                    <a:cubicBezTo>
                      <a:pt x="288" y="75"/>
                      <a:pt x="283" y="57"/>
                      <a:pt x="285" y="57"/>
                    </a:cubicBezTo>
                    <a:cubicBezTo>
                      <a:pt x="283" y="57"/>
                      <a:pt x="280" y="65"/>
                      <a:pt x="278" y="68"/>
                    </a:cubicBezTo>
                    <a:cubicBezTo>
                      <a:pt x="278" y="68"/>
                      <a:pt x="285" y="83"/>
                      <a:pt x="288" y="78"/>
                    </a:cubicBezTo>
                    <a:close/>
                    <a:moveTo>
                      <a:pt x="288" y="213"/>
                    </a:moveTo>
                    <a:cubicBezTo>
                      <a:pt x="291" y="210"/>
                      <a:pt x="288" y="208"/>
                      <a:pt x="288" y="208"/>
                    </a:cubicBezTo>
                    <a:cubicBezTo>
                      <a:pt x="283" y="208"/>
                      <a:pt x="283" y="213"/>
                      <a:pt x="288" y="213"/>
                    </a:cubicBezTo>
                    <a:close/>
                    <a:moveTo>
                      <a:pt x="280" y="55"/>
                    </a:moveTo>
                    <a:cubicBezTo>
                      <a:pt x="280" y="52"/>
                      <a:pt x="280" y="52"/>
                      <a:pt x="280" y="52"/>
                    </a:cubicBezTo>
                    <a:cubicBezTo>
                      <a:pt x="280" y="49"/>
                      <a:pt x="280" y="49"/>
                      <a:pt x="280" y="49"/>
                    </a:cubicBezTo>
                    <a:cubicBezTo>
                      <a:pt x="280" y="42"/>
                      <a:pt x="280" y="42"/>
                      <a:pt x="280" y="42"/>
                    </a:cubicBezTo>
                    <a:cubicBezTo>
                      <a:pt x="280" y="42"/>
                      <a:pt x="280" y="36"/>
                      <a:pt x="283" y="36"/>
                    </a:cubicBezTo>
                    <a:cubicBezTo>
                      <a:pt x="283" y="31"/>
                      <a:pt x="283" y="31"/>
                      <a:pt x="283" y="31"/>
                    </a:cubicBezTo>
                    <a:cubicBezTo>
                      <a:pt x="285" y="31"/>
                      <a:pt x="285" y="29"/>
                      <a:pt x="285" y="29"/>
                    </a:cubicBezTo>
                    <a:cubicBezTo>
                      <a:pt x="285" y="31"/>
                      <a:pt x="285" y="36"/>
                      <a:pt x="288" y="36"/>
                    </a:cubicBezTo>
                    <a:cubicBezTo>
                      <a:pt x="291" y="36"/>
                      <a:pt x="296" y="36"/>
                      <a:pt x="298" y="31"/>
                    </a:cubicBezTo>
                    <a:cubicBezTo>
                      <a:pt x="298" y="29"/>
                      <a:pt x="293" y="29"/>
                      <a:pt x="291" y="26"/>
                    </a:cubicBezTo>
                    <a:cubicBezTo>
                      <a:pt x="288" y="26"/>
                      <a:pt x="288" y="21"/>
                      <a:pt x="288" y="21"/>
                    </a:cubicBezTo>
                    <a:cubicBezTo>
                      <a:pt x="288" y="16"/>
                      <a:pt x="288" y="16"/>
                      <a:pt x="288" y="16"/>
                    </a:cubicBezTo>
                    <a:cubicBezTo>
                      <a:pt x="288" y="16"/>
                      <a:pt x="288" y="13"/>
                      <a:pt x="291" y="10"/>
                    </a:cubicBezTo>
                    <a:cubicBezTo>
                      <a:pt x="291" y="10"/>
                      <a:pt x="293" y="8"/>
                      <a:pt x="296" y="8"/>
                    </a:cubicBezTo>
                    <a:cubicBezTo>
                      <a:pt x="296" y="5"/>
                      <a:pt x="293" y="3"/>
                      <a:pt x="293" y="3"/>
                    </a:cubicBezTo>
                    <a:cubicBezTo>
                      <a:pt x="298" y="3"/>
                      <a:pt x="298" y="3"/>
                      <a:pt x="298" y="3"/>
                    </a:cubicBezTo>
                    <a:cubicBezTo>
                      <a:pt x="298" y="3"/>
                      <a:pt x="298" y="0"/>
                      <a:pt x="296" y="0"/>
                    </a:cubicBezTo>
                    <a:cubicBezTo>
                      <a:pt x="291" y="0"/>
                      <a:pt x="291" y="3"/>
                      <a:pt x="291" y="3"/>
                    </a:cubicBezTo>
                    <a:cubicBezTo>
                      <a:pt x="288" y="5"/>
                      <a:pt x="285" y="13"/>
                      <a:pt x="283" y="18"/>
                    </a:cubicBezTo>
                    <a:cubicBezTo>
                      <a:pt x="280" y="23"/>
                      <a:pt x="278" y="36"/>
                      <a:pt x="278" y="36"/>
                    </a:cubicBezTo>
                    <a:cubicBezTo>
                      <a:pt x="278" y="44"/>
                      <a:pt x="278" y="44"/>
                      <a:pt x="278" y="44"/>
                    </a:cubicBezTo>
                    <a:cubicBezTo>
                      <a:pt x="278" y="52"/>
                      <a:pt x="278" y="52"/>
                      <a:pt x="278" y="52"/>
                    </a:cubicBezTo>
                    <a:cubicBezTo>
                      <a:pt x="278" y="55"/>
                      <a:pt x="280" y="55"/>
                      <a:pt x="280" y="55"/>
                    </a:cubicBezTo>
                    <a:close/>
                    <a:moveTo>
                      <a:pt x="265" y="229"/>
                    </a:moveTo>
                    <a:cubicBezTo>
                      <a:pt x="267" y="229"/>
                      <a:pt x="275" y="223"/>
                      <a:pt x="267" y="223"/>
                    </a:cubicBezTo>
                    <a:cubicBezTo>
                      <a:pt x="267" y="223"/>
                      <a:pt x="257" y="229"/>
                      <a:pt x="265" y="229"/>
                    </a:cubicBezTo>
                    <a:close/>
                    <a:moveTo>
                      <a:pt x="252" y="223"/>
                    </a:moveTo>
                    <a:cubicBezTo>
                      <a:pt x="254" y="223"/>
                      <a:pt x="254" y="221"/>
                      <a:pt x="252" y="221"/>
                    </a:cubicBezTo>
                    <a:cubicBezTo>
                      <a:pt x="252" y="221"/>
                      <a:pt x="249" y="223"/>
                      <a:pt x="252" y="223"/>
                    </a:cubicBezTo>
                    <a:close/>
                    <a:moveTo>
                      <a:pt x="241" y="143"/>
                    </a:moveTo>
                    <a:cubicBezTo>
                      <a:pt x="239" y="145"/>
                      <a:pt x="239" y="148"/>
                      <a:pt x="241" y="151"/>
                    </a:cubicBezTo>
                    <a:lnTo>
                      <a:pt x="241" y="143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9" name="Serbi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867378" y="4123748"/>
                <a:ext cx="616758" cy="691616"/>
              </a:xfrm>
              <a:custGeom>
                <a:avLst/>
                <a:gdLst/>
                <a:ahLst/>
                <a:cxnLst>
                  <a:cxn ang="0">
                    <a:pos x="137" y="108"/>
                  </a:cxn>
                  <a:cxn ang="0">
                    <a:pos x="136" y="89"/>
                  </a:cxn>
                  <a:cxn ang="0">
                    <a:pos x="134" y="77"/>
                  </a:cxn>
                  <a:cxn ang="0">
                    <a:pos x="135" y="65"/>
                  </a:cxn>
                  <a:cxn ang="0">
                    <a:pos x="128" y="58"/>
                  </a:cxn>
                  <a:cxn ang="0">
                    <a:pos x="105" y="65"/>
                  </a:cxn>
                  <a:cxn ang="0">
                    <a:pos x="96" y="56"/>
                  </a:cxn>
                  <a:cxn ang="0">
                    <a:pos x="94" y="41"/>
                  </a:cxn>
                  <a:cxn ang="0">
                    <a:pos x="77" y="38"/>
                  </a:cxn>
                  <a:cxn ang="0">
                    <a:pos x="65" y="24"/>
                  </a:cxn>
                  <a:cxn ang="0">
                    <a:pos x="57" y="11"/>
                  </a:cxn>
                  <a:cxn ang="0">
                    <a:pos x="50" y="9"/>
                  </a:cxn>
                  <a:cxn ang="0">
                    <a:pos x="31" y="5"/>
                  </a:cxn>
                  <a:cxn ang="0">
                    <a:pos x="11" y="14"/>
                  </a:cxn>
                  <a:cxn ang="0">
                    <a:pos x="0" y="19"/>
                  </a:cxn>
                  <a:cxn ang="0">
                    <a:pos x="8" y="33"/>
                  </a:cxn>
                  <a:cxn ang="0">
                    <a:pos x="14" y="48"/>
                  </a:cxn>
                  <a:cxn ang="0">
                    <a:pos x="14" y="50"/>
                  </a:cxn>
                  <a:cxn ang="0">
                    <a:pos x="24" y="64"/>
                  </a:cxn>
                  <a:cxn ang="0">
                    <a:pos x="15" y="82"/>
                  </a:cxn>
                  <a:cxn ang="0">
                    <a:pos x="24" y="92"/>
                  </a:cxn>
                  <a:cxn ang="0">
                    <a:pos x="21" y="106"/>
                  </a:cxn>
                  <a:cxn ang="0">
                    <a:pos x="24" y="124"/>
                  </a:cxn>
                  <a:cxn ang="0">
                    <a:pos x="31" y="132"/>
                  </a:cxn>
                  <a:cxn ang="0">
                    <a:pos x="47" y="143"/>
                  </a:cxn>
                  <a:cxn ang="0">
                    <a:pos x="64" y="155"/>
                  </a:cxn>
                  <a:cxn ang="0">
                    <a:pos x="65" y="158"/>
                  </a:cxn>
                  <a:cxn ang="0">
                    <a:pos x="73" y="154"/>
                  </a:cxn>
                  <a:cxn ang="0">
                    <a:pos x="77" y="145"/>
                  </a:cxn>
                  <a:cxn ang="0">
                    <a:pos x="78" y="138"/>
                  </a:cxn>
                  <a:cxn ang="0">
                    <a:pos x="83" y="134"/>
                  </a:cxn>
                  <a:cxn ang="0">
                    <a:pos x="83" y="140"/>
                  </a:cxn>
                  <a:cxn ang="0">
                    <a:pos x="88" y="141"/>
                  </a:cxn>
                  <a:cxn ang="0">
                    <a:pos x="90" y="143"/>
                  </a:cxn>
                  <a:cxn ang="0">
                    <a:pos x="98" y="146"/>
                  </a:cxn>
                  <a:cxn ang="0">
                    <a:pos x="102" y="150"/>
                  </a:cxn>
                  <a:cxn ang="0">
                    <a:pos x="107" y="154"/>
                  </a:cxn>
                  <a:cxn ang="0">
                    <a:pos x="112" y="156"/>
                  </a:cxn>
                  <a:cxn ang="0">
                    <a:pos x="118" y="161"/>
                  </a:cxn>
                  <a:cxn ang="0">
                    <a:pos x="116" y="170"/>
                  </a:cxn>
                  <a:cxn ang="0">
                    <a:pos x="114" y="176"/>
                  </a:cxn>
                  <a:cxn ang="0">
                    <a:pos x="125" y="172"/>
                  </a:cxn>
                  <a:cxn ang="0">
                    <a:pos x="140" y="170"/>
                  </a:cxn>
                  <a:cxn ang="0">
                    <a:pos x="143" y="150"/>
                  </a:cxn>
                  <a:cxn ang="0">
                    <a:pos x="150" y="142"/>
                  </a:cxn>
                  <a:cxn ang="0">
                    <a:pos x="150" y="119"/>
                  </a:cxn>
                </a:cxnLst>
                <a:rect l="0" t="0" r="r" b="b"/>
                <a:pathLst>
                  <a:path w="158" h="177">
                    <a:moveTo>
                      <a:pt x="150" y="119"/>
                    </a:moveTo>
                    <a:cubicBezTo>
                      <a:pt x="148" y="117"/>
                      <a:pt x="139" y="115"/>
                      <a:pt x="139" y="115"/>
                    </a:cubicBezTo>
                    <a:cubicBezTo>
                      <a:pt x="137" y="108"/>
                      <a:pt x="137" y="108"/>
                      <a:pt x="137" y="108"/>
                    </a:cubicBezTo>
                    <a:cubicBezTo>
                      <a:pt x="131" y="102"/>
                      <a:pt x="131" y="102"/>
                      <a:pt x="131" y="102"/>
                    </a:cubicBezTo>
                    <a:cubicBezTo>
                      <a:pt x="132" y="91"/>
                      <a:pt x="132" y="91"/>
                      <a:pt x="132" y="91"/>
                    </a:cubicBezTo>
                    <a:cubicBezTo>
                      <a:pt x="132" y="91"/>
                      <a:pt x="135" y="90"/>
                      <a:pt x="136" y="89"/>
                    </a:cubicBezTo>
                    <a:cubicBezTo>
                      <a:pt x="137" y="87"/>
                      <a:pt x="137" y="83"/>
                      <a:pt x="137" y="83"/>
                    </a:cubicBezTo>
                    <a:cubicBezTo>
                      <a:pt x="137" y="83"/>
                      <a:pt x="140" y="80"/>
                      <a:pt x="139" y="77"/>
                    </a:cubicBezTo>
                    <a:cubicBezTo>
                      <a:pt x="138" y="74"/>
                      <a:pt x="134" y="77"/>
                      <a:pt x="134" y="77"/>
                    </a:cubicBezTo>
                    <a:cubicBezTo>
                      <a:pt x="132" y="69"/>
                      <a:pt x="132" y="69"/>
                      <a:pt x="132" y="69"/>
                    </a:cubicBezTo>
                    <a:cubicBezTo>
                      <a:pt x="134" y="69"/>
                      <a:pt x="134" y="69"/>
                      <a:pt x="134" y="69"/>
                    </a:cubicBezTo>
                    <a:cubicBezTo>
                      <a:pt x="135" y="65"/>
                      <a:pt x="135" y="65"/>
                      <a:pt x="135" y="65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39" y="63"/>
                      <a:pt x="139" y="63"/>
                      <a:pt x="139" y="63"/>
                    </a:cubicBezTo>
                    <a:cubicBezTo>
                      <a:pt x="139" y="63"/>
                      <a:pt x="135" y="60"/>
                      <a:pt x="128" y="58"/>
                    </a:cubicBezTo>
                    <a:cubicBezTo>
                      <a:pt x="123" y="58"/>
                      <a:pt x="122" y="71"/>
                      <a:pt x="119" y="71"/>
                    </a:cubicBezTo>
                    <a:cubicBezTo>
                      <a:pt x="116" y="72"/>
                      <a:pt x="116" y="65"/>
                      <a:pt x="113" y="64"/>
                    </a:cubicBezTo>
                    <a:cubicBezTo>
                      <a:pt x="111" y="62"/>
                      <a:pt x="108" y="67"/>
                      <a:pt x="105" y="65"/>
                    </a:cubicBezTo>
                    <a:cubicBezTo>
                      <a:pt x="102" y="65"/>
                      <a:pt x="100" y="61"/>
                      <a:pt x="99" y="60"/>
                    </a:cubicBezTo>
                    <a:cubicBezTo>
                      <a:pt x="97" y="60"/>
                      <a:pt x="90" y="58"/>
                      <a:pt x="90" y="58"/>
                    </a:cubicBezTo>
                    <a:cubicBezTo>
                      <a:pt x="96" y="56"/>
                      <a:pt x="96" y="56"/>
                      <a:pt x="96" y="56"/>
                    </a:cubicBezTo>
                    <a:cubicBezTo>
                      <a:pt x="97" y="53"/>
                      <a:pt x="97" y="53"/>
                      <a:pt x="97" y="53"/>
                    </a:cubicBezTo>
                    <a:cubicBezTo>
                      <a:pt x="90" y="52"/>
                      <a:pt x="90" y="52"/>
                      <a:pt x="90" y="52"/>
                    </a:cubicBezTo>
                    <a:cubicBezTo>
                      <a:pt x="90" y="52"/>
                      <a:pt x="94" y="46"/>
                      <a:pt x="94" y="41"/>
                    </a:cubicBezTo>
                    <a:cubicBezTo>
                      <a:pt x="93" y="35"/>
                      <a:pt x="84" y="39"/>
                      <a:pt x="84" y="39"/>
                    </a:cubicBezTo>
                    <a:cubicBezTo>
                      <a:pt x="81" y="36"/>
                      <a:pt x="81" y="36"/>
                      <a:pt x="81" y="36"/>
                    </a:cubicBezTo>
                    <a:cubicBezTo>
                      <a:pt x="77" y="38"/>
                      <a:pt x="77" y="38"/>
                      <a:pt x="77" y="38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9" y="27"/>
                      <a:pt x="69" y="27"/>
                      <a:pt x="69" y="27"/>
                    </a:cubicBezTo>
                    <a:cubicBezTo>
                      <a:pt x="65" y="24"/>
                      <a:pt x="65" y="24"/>
                      <a:pt x="65" y="24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67" y="16"/>
                      <a:pt x="63" y="19"/>
                      <a:pt x="61" y="19"/>
                    </a:cubicBezTo>
                    <a:cubicBezTo>
                      <a:pt x="58" y="19"/>
                      <a:pt x="57" y="11"/>
                      <a:pt x="57" y="11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0" y="9"/>
                      <a:pt x="50" y="9"/>
                      <a:pt x="50" y="9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39" y="1"/>
                      <a:pt x="39" y="1"/>
                      <a:pt x="39" y="1"/>
                    </a:cubicBezTo>
                    <a:cubicBezTo>
                      <a:pt x="32" y="0"/>
                      <a:pt x="31" y="5"/>
                      <a:pt x="31" y="5"/>
                    </a:cubicBezTo>
                    <a:cubicBezTo>
                      <a:pt x="31" y="5"/>
                      <a:pt x="28" y="3"/>
                      <a:pt x="26" y="3"/>
                    </a:cubicBezTo>
                    <a:cubicBezTo>
                      <a:pt x="24" y="3"/>
                      <a:pt x="21" y="6"/>
                      <a:pt x="19" y="8"/>
                    </a:cubicBezTo>
                    <a:cubicBezTo>
                      <a:pt x="17" y="11"/>
                      <a:pt x="11" y="14"/>
                      <a:pt x="11" y="14"/>
                    </a:cubicBezTo>
                    <a:cubicBezTo>
                      <a:pt x="7" y="13"/>
                      <a:pt x="7" y="13"/>
                      <a:pt x="7" y="13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21"/>
                      <a:pt x="4" y="24"/>
                      <a:pt x="4" y="24"/>
                    </a:cubicBezTo>
                    <a:cubicBezTo>
                      <a:pt x="4" y="28"/>
                      <a:pt x="0" y="32"/>
                      <a:pt x="2" y="33"/>
                    </a:cubicBezTo>
                    <a:cubicBezTo>
                      <a:pt x="5" y="37"/>
                      <a:pt x="5" y="33"/>
                      <a:pt x="8" y="33"/>
                    </a:cubicBezTo>
                    <a:cubicBezTo>
                      <a:pt x="12" y="33"/>
                      <a:pt x="11" y="37"/>
                      <a:pt x="6" y="39"/>
                    </a:cubicBezTo>
                    <a:cubicBezTo>
                      <a:pt x="2" y="40"/>
                      <a:pt x="6" y="43"/>
                      <a:pt x="6" y="43"/>
                    </a:cubicBezTo>
                    <a:cubicBezTo>
                      <a:pt x="14" y="48"/>
                      <a:pt x="14" y="48"/>
                      <a:pt x="14" y="48"/>
                    </a:cubicBezTo>
                    <a:cubicBezTo>
                      <a:pt x="22" y="48"/>
                      <a:pt x="22" y="48"/>
                      <a:pt x="22" y="48"/>
                    </a:cubicBezTo>
                    <a:cubicBezTo>
                      <a:pt x="22" y="50"/>
                      <a:pt x="22" y="50"/>
                      <a:pt x="22" y="50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3" y="62"/>
                      <a:pt x="13" y="62"/>
                      <a:pt x="13" y="62"/>
                    </a:cubicBezTo>
                    <a:cubicBezTo>
                      <a:pt x="24" y="64"/>
                      <a:pt x="24" y="64"/>
                      <a:pt x="24" y="64"/>
                    </a:cubicBezTo>
                    <a:cubicBezTo>
                      <a:pt x="21" y="66"/>
                      <a:pt x="21" y="66"/>
                      <a:pt x="21" y="66"/>
                    </a:cubicBezTo>
                    <a:cubicBezTo>
                      <a:pt x="21" y="66"/>
                      <a:pt x="21" y="73"/>
                      <a:pt x="19" y="75"/>
                    </a:cubicBezTo>
                    <a:cubicBezTo>
                      <a:pt x="18" y="78"/>
                      <a:pt x="15" y="82"/>
                      <a:pt x="15" y="82"/>
                    </a:cubicBezTo>
                    <a:cubicBezTo>
                      <a:pt x="16" y="85"/>
                      <a:pt x="16" y="85"/>
                      <a:pt x="16" y="85"/>
                    </a:cubicBezTo>
                    <a:cubicBezTo>
                      <a:pt x="16" y="85"/>
                      <a:pt x="13" y="90"/>
                      <a:pt x="15" y="91"/>
                    </a:cubicBezTo>
                    <a:cubicBezTo>
                      <a:pt x="18" y="92"/>
                      <a:pt x="24" y="92"/>
                      <a:pt x="24" y="92"/>
                    </a:cubicBezTo>
                    <a:cubicBezTo>
                      <a:pt x="34" y="101"/>
                      <a:pt x="34" y="101"/>
                      <a:pt x="34" y="101"/>
                    </a:cubicBezTo>
                    <a:cubicBezTo>
                      <a:pt x="34" y="101"/>
                      <a:pt x="34" y="106"/>
                      <a:pt x="31" y="106"/>
                    </a:cubicBezTo>
                    <a:cubicBezTo>
                      <a:pt x="27" y="106"/>
                      <a:pt x="21" y="106"/>
                      <a:pt x="21" y="106"/>
                    </a:cubicBezTo>
                    <a:cubicBezTo>
                      <a:pt x="27" y="114"/>
                      <a:pt x="27" y="114"/>
                      <a:pt x="27" y="114"/>
                    </a:cubicBezTo>
                    <a:cubicBezTo>
                      <a:pt x="27" y="114"/>
                      <a:pt x="37" y="122"/>
                      <a:pt x="32" y="124"/>
                    </a:cubicBezTo>
                    <a:cubicBezTo>
                      <a:pt x="28" y="128"/>
                      <a:pt x="24" y="124"/>
                      <a:pt x="24" y="124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6" y="129"/>
                      <a:pt x="26" y="129"/>
                      <a:pt x="26" y="129"/>
                    </a:cubicBezTo>
                    <a:cubicBezTo>
                      <a:pt x="31" y="132"/>
                      <a:pt x="31" y="132"/>
                      <a:pt x="31" y="132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7" y="143"/>
                      <a:pt x="47" y="143"/>
                      <a:pt x="47" y="143"/>
                    </a:cubicBezTo>
                    <a:cubicBezTo>
                      <a:pt x="60" y="149"/>
                      <a:pt x="60" y="149"/>
                      <a:pt x="60" y="149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4" y="155"/>
                      <a:pt x="64" y="155"/>
                      <a:pt x="64" y="155"/>
                    </a:cubicBezTo>
                    <a:cubicBezTo>
                      <a:pt x="61" y="156"/>
                      <a:pt x="61" y="156"/>
                      <a:pt x="61" y="156"/>
                    </a:cubicBezTo>
                    <a:cubicBezTo>
                      <a:pt x="61" y="157"/>
                      <a:pt x="61" y="157"/>
                      <a:pt x="61" y="158"/>
                    </a:cubicBezTo>
                    <a:cubicBezTo>
                      <a:pt x="65" y="158"/>
                      <a:pt x="65" y="158"/>
                      <a:pt x="65" y="158"/>
                    </a:cubicBezTo>
                    <a:cubicBezTo>
                      <a:pt x="69" y="158"/>
                      <a:pt x="69" y="158"/>
                      <a:pt x="69" y="158"/>
                    </a:cubicBezTo>
                    <a:cubicBezTo>
                      <a:pt x="69" y="158"/>
                      <a:pt x="71" y="157"/>
                      <a:pt x="71" y="157"/>
                    </a:cubicBezTo>
                    <a:cubicBezTo>
                      <a:pt x="72" y="156"/>
                      <a:pt x="72" y="155"/>
                      <a:pt x="73" y="154"/>
                    </a:cubicBezTo>
                    <a:cubicBezTo>
                      <a:pt x="73" y="154"/>
                      <a:pt x="72" y="153"/>
                      <a:pt x="73" y="152"/>
                    </a:cubicBezTo>
                    <a:cubicBezTo>
                      <a:pt x="74" y="151"/>
                      <a:pt x="76" y="149"/>
                      <a:pt x="76" y="149"/>
                    </a:cubicBezTo>
                    <a:cubicBezTo>
                      <a:pt x="76" y="149"/>
                      <a:pt x="77" y="145"/>
                      <a:pt x="77" y="145"/>
                    </a:cubicBezTo>
                    <a:cubicBezTo>
                      <a:pt x="76" y="144"/>
                      <a:pt x="76" y="143"/>
                      <a:pt x="75" y="143"/>
                    </a:cubicBezTo>
                    <a:cubicBezTo>
                      <a:pt x="75" y="142"/>
                      <a:pt x="76" y="139"/>
                      <a:pt x="76" y="139"/>
                    </a:cubicBezTo>
                    <a:cubicBezTo>
                      <a:pt x="76" y="139"/>
                      <a:pt x="77" y="138"/>
                      <a:pt x="78" y="138"/>
                    </a:cubicBezTo>
                    <a:cubicBezTo>
                      <a:pt x="79" y="137"/>
                      <a:pt x="80" y="138"/>
                      <a:pt x="81" y="138"/>
                    </a:cubicBezTo>
                    <a:cubicBezTo>
                      <a:pt x="81" y="138"/>
                      <a:pt x="82" y="135"/>
                      <a:pt x="82" y="135"/>
                    </a:cubicBezTo>
                    <a:cubicBezTo>
                      <a:pt x="82" y="136"/>
                      <a:pt x="82" y="134"/>
                      <a:pt x="83" y="134"/>
                    </a:cubicBezTo>
                    <a:cubicBezTo>
                      <a:pt x="84" y="134"/>
                      <a:pt x="84" y="136"/>
                      <a:pt x="84" y="136"/>
                    </a:cubicBezTo>
                    <a:cubicBezTo>
                      <a:pt x="84" y="136"/>
                      <a:pt x="85" y="137"/>
                      <a:pt x="85" y="138"/>
                    </a:cubicBezTo>
                    <a:cubicBezTo>
                      <a:pt x="84" y="139"/>
                      <a:pt x="83" y="140"/>
                      <a:pt x="83" y="140"/>
                    </a:cubicBezTo>
                    <a:cubicBezTo>
                      <a:pt x="83" y="140"/>
                      <a:pt x="84" y="141"/>
                      <a:pt x="84" y="141"/>
                    </a:cubicBezTo>
                    <a:cubicBezTo>
                      <a:pt x="85" y="141"/>
                      <a:pt x="85" y="141"/>
                      <a:pt x="85" y="141"/>
                    </a:cubicBezTo>
                    <a:cubicBezTo>
                      <a:pt x="88" y="141"/>
                      <a:pt x="88" y="141"/>
                      <a:pt x="88" y="141"/>
                    </a:cubicBezTo>
                    <a:cubicBezTo>
                      <a:pt x="88" y="141"/>
                      <a:pt x="88" y="142"/>
                      <a:pt x="88" y="142"/>
                    </a:cubicBezTo>
                    <a:cubicBezTo>
                      <a:pt x="89" y="142"/>
                      <a:pt x="89" y="142"/>
                      <a:pt x="90" y="143"/>
                    </a:cubicBezTo>
                    <a:cubicBezTo>
                      <a:pt x="90" y="143"/>
                      <a:pt x="90" y="143"/>
                      <a:pt x="90" y="143"/>
                    </a:cubicBezTo>
                    <a:cubicBezTo>
                      <a:pt x="91" y="144"/>
                      <a:pt x="93" y="143"/>
                      <a:pt x="94" y="143"/>
                    </a:cubicBezTo>
                    <a:cubicBezTo>
                      <a:pt x="95" y="143"/>
                      <a:pt x="95" y="145"/>
                      <a:pt x="95" y="145"/>
                    </a:cubicBezTo>
                    <a:cubicBezTo>
                      <a:pt x="95" y="145"/>
                      <a:pt x="97" y="145"/>
                      <a:pt x="98" y="146"/>
                    </a:cubicBezTo>
                    <a:cubicBezTo>
                      <a:pt x="98" y="146"/>
                      <a:pt x="98" y="149"/>
                      <a:pt x="98" y="149"/>
                    </a:cubicBezTo>
                    <a:cubicBezTo>
                      <a:pt x="98" y="149"/>
                      <a:pt x="99" y="150"/>
                      <a:pt x="100" y="150"/>
                    </a:cubicBezTo>
                    <a:cubicBezTo>
                      <a:pt x="101" y="150"/>
                      <a:pt x="102" y="150"/>
                      <a:pt x="102" y="150"/>
                    </a:cubicBezTo>
                    <a:cubicBezTo>
                      <a:pt x="102" y="150"/>
                      <a:pt x="103" y="152"/>
                      <a:pt x="103" y="152"/>
                    </a:cubicBezTo>
                    <a:cubicBezTo>
                      <a:pt x="105" y="153"/>
                      <a:pt x="105" y="153"/>
                      <a:pt x="105" y="153"/>
                    </a:cubicBezTo>
                    <a:cubicBezTo>
                      <a:pt x="107" y="154"/>
                      <a:pt x="107" y="154"/>
                      <a:pt x="107" y="154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11" y="155"/>
                      <a:pt x="111" y="155"/>
                      <a:pt x="111" y="155"/>
                    </a:cubicBezTo>
                    <a:cubicBezTo>
                      <a:pt x="112" y="156"/>
                      <a:pt x="112" y="156"/>
                      <a:pt x="112" y="156"/>
                    </a:cubicBezTo>
                    <a:cubicBezTo>
                      <a:pt x="114" y="157"/>
                      <a:pt x="114" y="157"/>
                      <a:pt x="114" y="157"/>
                    </a:cubicBezTo>
                    <a:cubicBezTo>
                      <a:pt x="114" y="157"/>
                      <a:pt x="116" y="157"/>
                      <a:pt x="117" y="158"/>
                    </a:cubicBezTo>
                    <a:cubicBezTo>
                      <a:pt x="117" y="158"/>
                      <a:pt x="118" y="161"/>
                      <a:pt x="118" y="161"/>
                    </a:cubicBezTo>
                    <a:cubicBezTo>
                      <a:pt x="118" y="161"/>
                      <a:pt x="119" y="163"/>
                      <a:pt x="119" y="163"/>
                    </a:cubicBezTo>
                    <a:cubicBezTo>
                      <a:pt x="119" y="164"/>
                      <a:pt x="118" y="166"/>
                      <a:pt x="118" y="166"/>
                    </a:cubicBezTo>
                    <a:cubicBezTo>
                      <a:pt x="116" y="170"/>
                      <a:pt x="116" y="170"/>
                      <a:pt x="116" y="170"/>
                    </a:cubicBezTo>
                    <a:cubicBezTo>
                      <a:pt x="116" y="170"/>
                      <a:pt x="115" y="172"/>
                      <a:pt x="115" y="172"/>
                    </a:cubicBezTo>
                    <a:cubicBezTo>
                      <a:pt x="115" y="173"/>
                      <a:pt x="114" y="174"/>
                      <a:pt x="114" y="174"/>
                    </a:cubicBezTo>
                    <a:cubicBezTo>
                      <a:pt x="114" y="174"/>
                      <a:pt x="114" y="175"/>
                      <a:pt x="114" y="176"/>
                    </a:cubicBezTo>
                    <a:cubicBezTo>
                      <a:pt x="114" y="176"/>
                      <a:pt x="113" y="176"/>
                      <a:pt x="112" y="177"/>
                    </a:cubicBezTo>
                    <a:cubicBezTo>
                      <a:pt x="114" y="177"/>
                      <a:pt x="115" y="177"/>
                      <a:pt x="116" y="177"/>
                    </a:cubicBezTo>
                    <a:cubicBezTo>
                      <a:pt x="120" y="177"/>
                      <a:pt x="125" y="172"/>
                      <a:pt x="125" y="172"/>
                    </a:cubicBezTo>
                    <a:cubicBezTo>
                      <a:pt x="132" y="173"/>
                      <a:pt x="132" y="173"/>
                      <a:pt x="132" y="173"/>
                    </a:cubicBezTo>
                    <a:cubicBezTo>
                      <a:pt x="137" y="168"/>
                      <a:pt x="137" y="168"/>
                      <a:pt x="137" y="168"/>
                    </a:cubicBezTo>
                    <a:cubicBezTo>
                      <a:pt x="140" y="170"/>
                      <a:pt x="140" y="170"/>
                      <a:pt x="140" y="170"/>
                    </a:cubicBezTo>
                    <a:cubicBezTo>
                      <a:pt x="146" y="162"/>
                      <a:pt x="146" y="162"/>
                      <a:pt x="146" y="162"/>
                    </a:cubicBezTo>
                    <a:cubicBezTo>
                      <a:pt x="140" y="156"/>
                      <a:pt x="140" y="156"/>
                      <a:pt x="140" y="156"/>
                    </a:cubicBezTo>
                    <a:cubicBezTo>
                      <a:pt x="143" y="150"/>
                      <a:pt x="143" y="150"/>
                      <a:pt x="143" y="150"/>
                    </a:cubicBezTo>
                    <a:cubicBezTo>
                      <a:pt x="139" y="148"/>
                      <a:pt x="139" y="148"/>
                      <a:pt x="139" y="148"/>
                    </a:cubicBezTo>
                    <a:cubicBezTo>
                      <a:pt x="139" y="148"/>
                      <a:pt x="139" y="146"/>
                      <a:pt x="142" y="144"/>
                    </a:cubicBezTo>
                    <a:cubicBezTo>
                      <a:pt x="145" y="141"/>
                      <a:pt x="148" y="143"/>
                      <a:pt x="150" y="142"/>
                    </a:cubicBezTo>
                    <a:cubicBezTo>
                      <a:pt x="151" y="141"/>
                      <a:pt x="152" y="139"/>
                      <a:pt x="152" y="139"/>
                    </a:cubicBezTo>
                    <a:cubicBezTo>
                      <a:pt x="158" y="128"/>
                      <a:pt x="158" y="128"/>
                      <a:pt x="158" y="128"/>
                    </a:cubicBezTo>
                    <a:cubicBezTo>
                      <a:pt x="158" y="128"/>
                      <a:pt x="155" y="121"/>
                      <a:pt x="150" y="119"/>
                    </a:cubicBezTo>
                    <a:close/>
                  </a:path>
                </a:pathLst>
              </a:custGeom>
              <a:grpFill/>
              <a:ln w="31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60" name="Kosovo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5067545" y="4646121"/>
                <a:ext cx="265256" cy="270137"/>
              </a:xfrm>
              <a:custGeom>
                <a:avLst/>
                <a:gdLst/>
                <a:ahLst/>
                <a:cxnLst>
                  <a:cxn ang="0">
                    <a:pos x="63" y="40"/>
                  </a:cxn>
                  <a:cxn ang="0">
                    <a:pos x="65" y="36"/>
                  </a:cxn>
                  <a:cxn ang="0">
                    <a:pos x="68" y="29"/>
                  </a:cxn>
                  <a:cxn ang="0">
                    <a:pos x="66" y="24"/>
                  </a:cxn>
                  <a:cxn ang="0">
                    <a:pos x="61" y="22"/>
                  </a:cxn>
                  <a:cxn ang="0">
                    <a:pos x="59" y="21"/>
                  </a:cxn>
                  <a:cxn ang="0">
                    <a:pos x="54" y="19"/>
                  </a:cxn>
                  <a:cxn ang="0">
                    <a:pos x="51" y="16"/>
                  </a:cxn>
                  <a:cxn ang="0">
                    <a:pos x="47" y="15"/>
                  </a:cxn>
                  <a:cxn ang="0">
                    <a:pos x="44" y="11"/>
                  </a:cxn>
                  <a:cxn ang="0">
                    <a:pos x="39" y="9"/>
                  </a:cxn>
                  <a:cxn ang="0">
                    <a:pos x="37" y="8"/>
                  </a:cxn>
                  <a:cxn ang="0">
                    <a:pos x="34" y="7"/>
                  </a:cxn>
                  <a:cxn ang="0">
                    <a:pos x="32" y="6"/>
                  </a:cxn>
                  <a:cxn ang="0">
                    <a:pos x="33" y="2"/>
                  </a:cxn>
                  <a:cxn ang="0">
                    <a:pos x="31" y="1"/>
                  </a:cxn>
                  <a:cxn ang="0">
                    <a:pos x="27" y="4"/>
                  </a:cxn>
                  <a:cxn ang="0">
                    <a:pos x="24" y="9"/>
                  </a:cxn>
                  <a:cxn ang="0">
                    <a:pos x="25" y="15"/>
                  </a:cxn>
                  <a:cxn ang="0">
                    <a:pos x="22" y="20"/>
                  </a:cxn>
                  <a:cxn ang="0">
                    <a:pos x="18" y="24"/>
                  </a:cxn>
                  <a:cxn ang="0">
                    <a:pos x="10" y="24"/>
                  </a:cxn>
                  <a:cxn ang="0">
                    <a:pos x="6" y="25"/>
                  </a:cxn>
                  <a:cxn ang="0">
                    <a:pos x="0" y="27"/>
                  </a:cxn>
                  <a:cxn ang="0">
                    <a:pos x="5" y="37"/>
                  </a:cxn>
                  <a:cxn ang="0">
                    <a:pos x="12" y="38"/>
                  </a:cxn>
                  <a:cxn ang="0">
                    <a:pos x="26" y="48"/>
                  </a:cxn>
                  <a:cxn ang="0">
                    <a:pos x="29" y="69"/>
                  </a:cxn>
                  <a:cxn ang="0">
                    <a:pos x="35" y="55"/>
                  </a:cxn>
                  <a:cxn ang="0">
                    <a:pos x="46" y="47"/>
                  </a:cxn>
                  <a:cxn ang="0">
                    <a:pos x="58" y="43"/>
                  </a:cxn>
                  <a:cxn ang="0">
                    <a:pos x="63" y="42"/>
                  </a:cxn>
                </a:cxnLst>
                <a:rect l="0" t="0" r="r" b="b"/>
                <a:pathLst>
                  <a:path w="68" h="69">
                    <a:moveTo>
                      <a:pt x="63" y="42"/>
                    </a:moveTo>
                    <a:cubicBezTo>
                      <a:pt x="63" y="41"/>
                      <a:pt x="63" y="40"/>
                      <a:pt x="63" y="40"/>
                    </a:cubicBezTo>
                    <a:cubicBezTo>
                      <a:pt x="63" y="40"/>
                      <a:pt x="64" y="39"/>
                      <a:pt x="64" y="38"/>
                    </a:cubicBezTo>
                    <a:cubicBezTo>
                      <a:pt x="64" y="38"/>
                      <a:pt x="65" y="36"/>
                      <a:pt x="65" y="36"/>
                    </a:cubicBezTo>
                    <a:cubicBezTo>
                      <a:pt x="67" y="32"/>
                      <a:pt x="67" y="32"/>
                      <a:pt x="67" y="32"/>
                    </a:cubicBezTo>
                    <a:cubicBezTo>
                      <a:pt x="67" y="32"/>
                      <a:pt x="68" y="30"/>
                      <a:pt x="68" y="29"/>
                    </a:cubicBezTo>
                    <a:cubicBezTo>
                      <a:pt x="68" y="29"/>
                      <a:pt x="67" y="27"/>
                      <a:pt x="67" y="27"/>
                    </a:cubicBezTo>
                    <a:cubicBezTo>
                      <a:pt x="67" y="27"/>
                      <a:pt x="66" y="24"/>
                      <a:pt x="66" y="24"/>
                    </a:cubicBezTo>
                    <a:cubicBezTo>
                      <a:pt x="65" y="23"/>
                      <a:pt x="63" y="23"/>
                      <a:pt x="63" y="23"/>
                    </a:cubicBezTo>
                    <a:cubicBezTo>
                      <a:pt x="61" y="22"/>
                      <a:pt x="61" y="22"/>
                      <a:pt x="61" y="22"/>
                    </a:cubicBezTo>
                    <a:cubicBezTo>
                      <a:pt x="60" y="21"/>
                      <a:pt x="60" y="21"/>
                      <a:pt x="60" y="21"/>
                    </a:cubicBezTo>
                    <a:cubicBezTo>
                      <a:pt x="59" y="21"/>
                      <a:pt x="59" y="21"/>
                      <a:pt x="59" y="21"/>
                    </a:cubicBezTo>
                    <a:cubicBezTo>
                      <a:pt x="56" y="20"/>
                      <a:pt x="56" y="20"/>
                      <a:pt x="56" y="20"/>
                    </a:cubicBezTo>
                    <a:cubicBezTo>
                      <a:pt x="54" y="19"/>
                      <a:pt x="54" y="19"/>
                      <a:pt x="54" y="19"/>
                    </a:cubicBezTo>
                    <a:cubicBezTo>
                      <a:pt x="52" y="18"/>
                      <a:pt x="52" y="18"/>
                      <a:pt x="52" y="18"/>
                    </a:cubicBezTo>
                    <a:cubicBezTo>
                      <a:pt x="52" y="18"/>
                      <a:pt x="51" y="16"/>
                      <a:pt x="51" y="16"/>
                    </a:cubicBezTo>
                    <a:cubicBezTo>
                      <a:pt x="51" y="16"/>
                      <a:pt x="50" y="16"/>
                      <a:pt x="49" y="16"/>
                    </a:cubicBezTo>
                    <a:cubicBezTo>
                      <a:pt x="48" y="16"/>
                      <a:pt x="47" y="15"/>
                      <a:pt x="47" y="15"/>
                    </a:cubicBezTo>
                    <a:cubicBezTo>
                      <a:pt x="47" y="15"/>
                      <a:pt x="47" y="12"/>
                      <a:pt x="47" y="12"/>
                    </a:cubicBezTo>
                    <a:cubicBezTo>
                      <a:pt x="46" y="11"/>
                      <a:pt x="44" y="11"/>
                      <a:pt x="44" y="11"/>
                    </a:cubicBezTo>
                    <a:cubicBezTo>
                      <a:pt x="44" y="11"/>
                      <a:pt x="44" y="9"/>
                      <a:pt x="43" y="9"/>
                    </a:cubicBezTo>
                    <a:cubicBezTo>
                      <a:pt x="42" y="9"/>
                      <a:pt x="40" y="10"/>
                      <a:pt x="39" y="9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8" y="8"/>
                      <a:pt x="38" y="8"/>
                      <a:pt x="37" y="8"/>
                    </a:cubicBezTo>
                    <a:cubicBezTo>
                      <a:pt x="37" y="8"/>
                      <a:pt x="37" y="7"/>
                      <a:pt x="37" y="7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2" y="6"/>
                      <a:pt x="32" y="6"/>
                    </a:cubicBezTo>
                    <a:cubicBezTo>
                      <a:pt x="32" y="6"/>
                      <a:pt x="33" y="5"/>
                      <a:pt x="34" y="4"/>
                    </a:cubicBezTo>
                    <a:cubicBezTo>
                      <a:pt x="34" y="3"/>
                      <a:pt x="33" y="2"/>
                      <a:pt x="33" y="2"/>
                    </a:cubicBezTo>
                    <a:cubicBezTo>
                      <a:pt x="33" y="2"/>
                      <a:pt x="33" y="0"/>
                      <a:pt x="32" y="0"/>
                    </a:cubicBezTo>
                    <a:cubicBezTo>
                      <a:pt x="31" y="0"/>
                      <a:pt x="31" y="2"/>
                      <a:pt x="31" y="1"/>
                    </a:cubicBezTo>
                    <a:cubicBezTo>
                      <a:pt x="31" y="1"/>
                      <a:pt x="30" y="4"/>
                      <a:pt x="30" y="4"/>
                    </a:cubicBezTo>
                    <a:cubicBezTo>
                      <a:pt x="29" y="4"/>
                      <a:pt x="28" y="3"/>
                      <a:pt x="27" y="4"/>
                    </a:cubicBezTo>
                    <a:cubicBezTo>
                      <a:pt x="26" y="4"/>
                      <a:pt x="25" y="5"/>
                      <a:pt x="25" y="5"/>
                    </a:cubicBezTo>
                    <a:cubicBezTo>
                      <a:pt x="25" y="5"/>
                      <a:pt x="24" y="8"/>
                      <a:pt x="24" y="9"/>
                    </a:cubicBezTo>
                    <a:cubicBezTo>
                      <a:pt x="25" y="9"/>
                      <a:pt x="25" y="10"/>
                      <a:pt x="26" y="11"/>
                    </a:cubicBezTo>
                    <a:cubicBezTo>
                      <a:pt x="26" y="11"/>
                      <a:pt x="25" y="15"/>
                      <a:pt x="25" y="15"/>
                    </a:cubicBezTo>
                    <a:cubicBezTo>
                      <a:pt x="25" y="15"/>
                      <a:pt x="23" y="17"/>
                      <a:pt x="22" y="18"/>
                    </a:cubicBezTo>
                    <a:cubicBezTo>
                      <a:pt x="21" y="19"/>
                      <a:pt x="22" y="20"/>
                      <a:pt x="22" y="20"/>
                    </a:cubicBezTo>
                    <a:cubicBezTo>
                      <a:pt x="21" y="21"/>
                      <a:pt x="21" y="22"/>
                      <a:pt x="20" y="23"/>
                    </a:cubicBezTo>
                    <a:cubicBezTo>
                      <a:pt x="20" y="23"/>
                      <a:pt x="18" y="24"/>
                      <a:pt x="18" y="24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0" y="24"/>
                      <a:pt x="10" y="24"/>
                      <a:pt x="10" y="24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3" y="25"/>
                      <a:pt x="3" y="25"/>
                      <a:pt x="3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5" y="37"/>
                      <a:pt x="5" y="37"/>
                      <a:pt x="5" y="37"/>
                    </a:cubicBezTo>
                    <a:cubicBezTo>
                      <a:pt x="9" y="35"/>
                      <a:pt x="9" y="35"/>
                      <a:pt x="9" y="35"/>
                    </a:cubicBezTo>
                    <a:cubicBezTo>
                      <a:pt x="9" y="35"/>
                      <a:pt x="11" y="36"/>
                      <a:pt x="12" y="38"/>
                    </a:cubicBezTo>
                    <a:cubicBezTo>
                      <a:pt x="14" y="40"/>
                      <a:pt x="15" y="45"/>
                      <a:pt x="15" y="45"/>
                    </a:cubicBezTo>
                    <a:cubicBezTo>
                      <a:pt x="15" y="45"/>
                      <a:pt x="23" y="46"/>
                      <a:pt x="26" y="48"/>
                    </a:cubicBezTo>
                    <a:cubicBezTo>
                      <a:pt x="28" y="52"/>
                      <a:pt x="31" y="59"/>
                      <a:pt x="31" y="59"/>
                    </a:cubicBezTo>
                    <a:cubicBezTo>
                      <a:pt x="29" y="69"/>
                      <a:pt x="29" y="69"/>
                      <a:pt x="29" y="69"/>
                    </a:cubicBezTo>
                    <a:cubicBezTo>
                      <a:pt x="36" y="65"/>
                      <a:pt x="36" y="65"/>
                      <a:pt x="36" y="65"/>
                    </a:cubicBezTo>
                    <a:cubicBezTo>
                      <a:pt x="36" y="65"/>
                      <a:pt x="33" y="58"/>
                      <a:pt x="35" y="55"/>
                    </a:cubicBezTo>
                    <a:cubicBezTo>
                      <a:pt x="37" y="51"/>
                      <a:pt x="42" y="51"/>
                      <a:pt x="42" y="51"/>
                    </a:cubicBezTo>
                    <a:cubicBezTo>
                      <a:pt x="46" y="47"/>
                      <a:pt x="46" y="47"/>
                      <a:pt x="46" y="47"/>
                    </a:cubicBezTo>
                    <a:cubicBezTo>
                      <a:pt x="52" y="54"/>
                      <a:pt x="52" y="54"/>
                      <a:pt x="52" y="54"/>
                    </a:cubicBezTo>
                    <a:cubicBezTo>
                      <a:pt x="58" y="43"/>
                      <a:pt x="58" y="43"/>
                      <a:pt x="58" y="43"/>
                    </a:cubicBezTo>
                    <a:cubicBezTo>
                      <a:pt x="58" y="43"/>
                      <a:pt x="60" y="43"/>
                      <a:pt x="61" y="43"/>
                    </a:cubicBezTo>
                    <a:cubicBezTo>
                      <a:pt x="62" y="42"/>
                      <a:pt x="63" y="42"/>
                      <a:pt x="63" y="42"/>
                    </a:cubicBezTo>
                    <a:close/>
                  </a:path>
                </a:pathLst>
              </a:custGeom>
              <a:grpFill/>
              <a:ln w="3175" cap="rnd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61" name="Montenegro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873883" y="4610312"/>
                <a:ext cx="247354" cy="309192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59" y="9"/>
                  </a:cxn>
                  <a:cxn ang="0">
                    <a:pos x="44" y="9"/>
                  </a:cxn>
                  <a:cxn ang="0">
                    <a:pos x="34" y="2"/>
                  </a:cxn>
                  <a:cxn ang="0">
                    <a:pos x="32" y="13"/>
                  </a:cxn>
                  <a:cxn ang="0">
                    <a:pos x="49" y="36"/>
                  </a:cxn>
                  <a:cxn ang="0">
                    <a:pos x="30" y="32"/>
                  </a:cxn>
                  <a:cxn ang="0">
                    <a:pos x="13" y="43"/>
                  </a:cxn>
                  <a:cxn ang="0">
                    <a:pos x="15" y="70"/>
                  </a:cxn>
                  <a:cxn ang="0">
                    <a:pos x="2" y="78"/>
                  </a:cxn>
                  <a:cxn ang="0">
                    <a:pos x="3" y="108"/>
                  </a:cxn>
                  <a:cxn ang="0">
                    <a:pos x="9" y="108"/>
                  </a:cxn>
                  <a:cxn ang="0">
                    <a:pos x="9" y="127"/>
                  </a:cxn>
                  <a:cxn ang="0">
                    <a:pos x="0" y="133"/>
                  </a:cxn>
                  <a:cxn ang="0">
                    <a:pos x="0" y="144"/>
                  </a:cxn>
                  <a:cxn ang="0">
                    <a:pos x="7" y="148"/>
                  </a:cxn>
                  <a:cxn ang="0">
                    <a:pos x="19" y="136"/>
                  </a:cxn>
                  <a:cxn ang="0">
                    <a:pos x="28" y="138"/>
                  </a:cxn>
                  <a:cxn ang="0">
                    <a:pos x="25" y="159"/>
                  </a:cxn>
                  <a:cxn ang="0">
                    <a:pos x="34" y="165"/>
                  </a:cxn>
                  <a:cxn ang="0">
                    <a:pos x="47" y="163"/>
                  </a:cxn>
                  <a:cxn ang="0">
                    <a:pos x="49" y="170"/>
                  </a:cxn>
                  <a:cxn ang="0">
                    <a:pos x="72" y="189"/>
                  </a:cxn>
                  <a:cxn ang="0">
                    <a:pos x="72" y="199"/>
                  </a:cxn>
                  <a:cxn ang="0">
                    <a:pos x="82" y="205"/>
                  </a:cxn>
                  <a:cxn ang="0">
                    <a:pos x="93" y="208"/>
                  </a:cxn>
                  <a:cxn ang="0">
                    <a:pos x="91" y="193"/>
                  </a:cxn>
                  <a:cxn ang="0">
                    <a:pos x="87" y="174"/>
                  </a:cxn>
                  <a:cxn ang="0">
                    <a:pos x="82" y="172"/>
                  </a:cxn>
                  <a:cxn ang="0">
                    <a:pos x="116" y="106"/>
                  </a:cxn>
                  <a:cxn ang="0">
                    <a:pos x="121" y="108"/>
                  </a:cxn>
                  <a:cxn ang="0">
                    <a:pos x="121" y="121"/>
                  </a:cxn>
                  <a:cxn ang="0">
                    <a:pos x="135" y="129"/>
                  </a:cxn>
                  <a:cxn ang="0">
                    <a:pos x="145" y="122"/>
                  </a:cxn>
                  <a:cxn ang="0">
                    <a:pos x="140" y="116"/>
                  </a:cxn>
                  <a:cxn ang="0">
                    <a:pos x="130" y="96"/>
                  </a:cxn>
                  <a:cxn ang="0">
                    <a:pos x="138" y="90"/>
                  </a:cxn>
                  <a:cxn ang="0">
                    <a:pos x="146" y="90"/>
                  </a:cxn>
                  <a:cxn ang="0">
                    <a:pos x="153" y="92"/>
                  </a:cxn>
                  <a:cxn ang="0">
                    <a:pos x="158" y="83"/>
                  </a:cxn>
                  <a:cxn ang="0">
                    <a:pos x="164" y="78"/>
                  </a:cxn>
                  <a:cxn ang="0">
                    <a:pos x="166" y="66"/>
                  </a:cxn>
                  <a:cxn ang="0">
                    <a:pos x="153" y="63"/>
                  </a:cxn>
                  <a:cxn ang="0">
                    <a:pos x="120" y="47"/>
                  </a:cxn>
                  <a:cxn ang="0">
                    <a:pos x="109" y="43"/>
                  </a:cxn>
                  <a:cxn ang="0">
                    <a:pos x="94" y="30"/>
                  </a:cxn>
                  <a:cxn ang="0">
                    <a:pos x="78" y="19"/>
                  </a:cxn>
                  <a:cxn ang="0">
                    <a:pos x="66" y="10"/>
                  </a:cxn>
                  <a:cxn ang="0">
                    <a:pos x="60" y="0"/>
                  </a:cxn>
                </a:cxnLst>
                <a:rect l="0" t="0" r="r" b="b"/>
                <a:pathLst>
                  <a:path w="166" h="208">
                    <a:moveTo>
                      <a:pt x="60" y="0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53" y="30"/>
                      <a:pt x="49" y="36"/>
                    </a:cubicBezTo>
                    <a:cubicBezTo>
                      <a:pt x="44" y="42"/>
                      <a:pt x="36" y="32"/>
                      <a:pt x="30" y="32"/>
                    </a:cubicBezTo>
                    <a:cubicBezTo>
                      <a:pt x="21" y="32"/>
                      <a:pt x="15" y="40"/>
                      <a:pt x="13" y="43"/>
                    </a:cubicBezTo>
                    <a:cubicBezTo>
                      <a:pt x="9" y="49"/>
                      <a:pt x="19" y="66"/>
                      <a:pt x="15" y="70"/>
                    </a:cubicBezTo>
                    <a:cubicBezTo>
                      <a:pt x="11" y="72"/>
                      <a:pt x="6" y="72"/>
                      <a:pt x="2" y="78"/>
                    </a:cubicBezTo>
                    <a:cubicBezTo>
                      <a:pt x="0" y="83"/>
                      <a:pt x="3" y="108"/>
                      <a:pt x="3" y="108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8"/>
                      <a:pt x="7" y="148"/>
                      <a:pt x="7" y="148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93" y="208"/>
                      <a:pt x="93" y="208"/>
                      <a:pt x="93" y="208"/>
                    </a:cubicBezTo>
                    <a:cubicBezTo>
                      <a:pt x="91" y="193"/>
                      <a:pt x="91" y="193"/>
                      <a:pt x="91" y="193"/>
                    </a:cubicBezTo>
                    <a:cubicBezTo>
                      <a:pt x="87" y="174"/>
                      <a:pt x="87" y="174"/>
                      <a:pt x="87" y="174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21" y="108"/>
                      <a:pt x="121" y="108"/>
                      <a:pt x="121" y="108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45" y="122"/>
                      <a:pt x="145" y="122"/>
                      <a:pt x="145" y="122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6" y="90"/>
                      <a:pt x="146" y="90"/>
                      <a:pt x="146" y="90"/>
                    </a:cubicBezTo>
                    <a:cubicBezTo>
                      <a:pt x="153" y="92"/>
                      <a:pt x="153" y="92"/>
                      <a:pt x="153" y="92"/>
                    </a:cubicBezTo>
                    <a:cubicBezTo>
                      <a:pt x="158" y="83"/>
                      <a:pt x="158" y="83"/>
                      <a:pt x="158" y="83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53" y="63"/>
                      <a:pt x="153" y="63"/>
                      <a:pt x="153" y="63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66" y="10"/>
                      <a:pt x="66" y="10"/>
                      <a:pt x="66" y="10"/>
                    </a:cubicBezTo>
                    <a:lnTo>
                      <a:pt x="60" y="0"/>
                    </a:lnTo>
                    <a:close/>
                  </a:path>
                </a:pathLst>
              </a:custGeom>
              <a:grpFill/>
              <a:ln w="3175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62" name="Rumänien" descr="© INSCALE GmbH, 05.05.2010&#10;http://www.presentationload.com/"/>
              <p:cNvSpPr>
                <a:spLocks noEditPoints="1"/>
              </p:cNvSpPr>
              <p:nvPr/>
            </p:nvSpPr>
            <p:spPr bwMode="gray">
              <a:xfrm>
                <a:off x="5043129" y="3604627"/>
                <a:ext cx="1264436" cy="899913"/>
              </a:xfrm>
              <a:custGeom>
                <a:avLst/>
                <a:gdLst/>
                <a:ahLst/>
                <a:cxnLst>
                  <a:cxn ang="0">
                    <a:pos x="428" y="156"/>
                  </a:cxn>
                  <a:cxn ang="0">
                    <a:pos x="402" y="170"/>
                  </a:cxn>
                  <a:cxn ang="0">
                    <a:pos x="387" y="175"/>
                  </a:cxn>
                  <a:cxn ang="0">
                    <a:pos x="365" y="162"/>
                  </a:cxn>
                  <a:cxn ang="0">
                    <a:pos x="361" y="136"/>
                  </a:cxn>
                  <a:cxn ang="0">
                    <a:pos x="361" y="116"/>
                  </a:cxn>
                  <a:cxn ang="0">
                    <a:pos x="350" y="83"/>
                  </a:cxn>
                  <a:cxn ang="0">
                    <a:pos x="332" y="65"/>
                  </a:cxn>
                  <a:cxn ang="0">
                    <a:pos x="291" y="18"/>
                  </a:cxn>
                  <a:cxn ang="0">
                    <a:pos x="247" y="24"/>
                  </a:cxn>
                  <a:cxn ang="0">
                    <a:pos x="202" y="51"/>
                  </a:cxn>
                  <a:cxn ang="0">
                    <a:pos x="164" y="44"/>
                  </a:cxn>
                  <a:cxn ang="0">
                    <a:pos x="115" y="37"/>
                  </a:cxn>
                  <a:cxn ang="0">
                    <a:pos x="107" y="47"/>
                  </a:cxn>
                  <a:cxn ang="0">
                    <a:pos x="93" y="67"/>
                  </a:cxn>
                  <a:cxn ang="0">
                    <a:pos x="81" y="70"/>
                  </a:cxn>
                  <a:cxn ang="0">
                    <a:pos x="71" y="94"/>
                  </a:cxn>
                  <a:cxn ang="0">
                    <a:pos x="65" y="108"/>
                  </a:cxn>
                  <a:cxn ang="0">
                    <a:pos x="59" y="125"/>
                  </a:cxn>
                  <a:cxn ang="0">
                    <a:pos x="55" y="140"/>
                  </a:cxn>
                  <a:cxn ang="0">
                    <a:pos x="45" y="148"/>
                  </a:cxn>
                  <a:cxn ang="0">
                    <a:pos x="43" y="164"/>
                  </a:cxn>
                  <a:cxn ang="0">
                    <a:pos x="27" y="174"/>
                  </a:cxn>
                  <a:cxn ang="0">
                    <a:pos x="12" y="181"/>
                  </a:cxn>
                  <a:cxn ang="0">
                    <a:pos x="0" y="184"/>
                  </a:cxn>
                  <a:cxn ang="0">
                    <a:pos x="12" y="194"/>
                  </a:cxn>
                  <a:cxn ang="0">
                    <a:pos x="17" y="197"/>
                  </a:cxn>
                  <a:cxn ang="0">
                    <a:pos x="31" y="205"/>
                  </a:cxn>
                  <a:cxn ang="0">
                    <a:pos x="33" y="219"/>
                  </a:cxn>
                  <a:cxn ang="0">
                    <a:pos x="45" y="235"/>
                  </a:cxn>
                  <a:cxn ang="0">
                    <a:pos x="55" y="237"/>
                  </a:cxn>
                  <a:cxn ang="0">
                    <a:pos x="63" y="254"/>
                  </a:cxn>
                  <a:cxn ang="0">
                    <a:pos x="71" y="260"/>
                  </a:cxn>
                  <a:cxn ang="0">
                    <a:pos x="75" y="266"/>
                  </a:cxn>
                  <a:cxn ang="0">
                    <a:pos x="95" y="271"/>
                  </a:cxn>
                  <a:cxn ang="0">
                    <a:pos x="115" y="263"/>
                  </a:cxn>
                  <a:cxn ang="0">
                    <a:pos x="129" y="274"/>
                  </a:cxn>
                  <a:cxn ang="0">
                    <a:pos x="123" y="278"/>
                  </a:cxn>
                  <a:cxn ang="0">
                    <a:pos x="123" y="290"/>
                  </a:cxn>
                  <a:cxn ang="0">
                    <a:pos x="129" y="294"/>
                  </a:cxn>
                  <a:cxn ang="0">
                    <a:pos x="148" y="302"/>
                  </a:cxn>
                  <a:cxn ang="0">
                    <a:pos x="151" y="318"/>
                  </a:cxn>
                  <a:cxn ang="0">
                    <a:pos x="179" y="314"/>
                  </a:cxn>
                  <a:cxn ang="0">
                    <a:pos x="206" y="318"/>
                  </a:cxn>
                  <a:cxn ang="0">
                    <a:pos x="229" y="310"/>
                  </a:cxn>
                  <a:cxn ang="0">
                    <a:pos x="250" y="310"/>
                  </a:cxn>
                  <a:cxn ang="0">
                    <a:pos x="271" y="309"/>
                  </a:cxn>
                  <a:cxn ang="0">
                    <a:pos x="308" y="275"/>
                  </a:cxn>
                  <a:cxn ang="0">
                    <a:pos x="355" y="268"/>
                  </a:cxn>
                  <a:cxn ang="0">
                    <a:pos x="372" y="268"/>
                  </a:cxn>
                  <a:cxn ang="0">
                    <a:pos x="385" y="272"/>
                  </a:cxn>
                  <a:cxn ang="0">
                    <a:pos x="413" y="273"/>
                  </a:cxn>
                  <a:cxn ang="0">
                    <a:pos x="408" y="239"/>
                  </a:cxn>
                  <a:cxn ang="0">
                    <a:pos x="411" y="221"/>
                  </a:cxn>
                  <a:cxn ang="0">
                    <a:pos x="407" y="207"/>
                  </a:cxn>
                  <a:cxn ang="0">
                    <a:pos x="413" y="191"/>
                  </a:cxn>
                  <a:cxn ang="0">
                    <a:pos x="420" y="193"/>
                  </a:cxn>
                  <a:cxn ang="0">
                    <a:pos x="424" y="195"/>
                  </a:cxn>
                  <a:cxn ang="0">
                    <a:pos x="419" y="204"/>
                  </a:cxn>
                  <a:cxn ang="0">
                    <a:pos x="431" y="199"/>
                  </a:cxn>
                  <a:cxn ang="0">
                    <a:pos x="443" y="167"/>
                  </a:cxn>
                  <a:cxn ang="0">
                    <a:pos x="418" y="212"/>
                  </a:cxn>
                  <a:cxn ang="0">
                    <a:pos x="418" y="207"/>
                  </a:cxn>
                </a:cxnLst>
                <a:rect l="0" t="0" r="r" b="b"/>
                <a:pathLst>
                  <a:path w="448" h="319">
                    <a:moveTo>
                      <a:pt x="443" y="167"/>
                    </a:moveTo>
                    <a:cubicBezTo>
                      <a:pt x="443" y="167"/>
                      <a:pt x="439" y="158"/>
                      <a:pt x="428" y="156"/>
                    </a:cubicBezTo>
                    <a:cubicBezTo>
                      <a:pt x="419" y="155"/>
                      <a:pt x="407" y="170"/>
                      <a:pt x="407" y="170"/>
                    </a:cubicBezTo>
                    <a:cubicBezTo>
                      <a:pt x="402" y="170"/>
                      <a:pt x="402" y="170"/>
                      <a:pt x="402" y="170"/>
                    </a:cubicBezTo>
                    <a:cubicBezTo>
                      <a:pt x="402" y="177"/>
                      <a:pt x="402" y="177"/>
                      <a:pt x="402" y="177"/>
                    </a:cubicBezTo>
                    <a:cubicBezTo>
                      <a:pt x="402" y="177"/>
                      <a:pt x="399" y="178"/>
                      <a:pt x="387" y="175"/>
                    </a:cubicBezTo>
                    <a:cubicBezTo>
                      <a:pt x="376" y="173"/>
                      <a:pt x="377" y="167"/>
                      <a:pt x="377" y="167"/>
                    </a:cubicBezTo>
                    <a:cubicBezTo>
                      <a:pt x="365" y="162"/>
                      <a:pt x="365" y="162"/>
                      <a:pt x="365" y="162"/>
                    </a:cubicBezTo>
                    <a:cubicBezTo>
                      <a:pt x="368" y="156"/>
                      <a:pt x="368" y="156"/>
                      <a:pt x="368" y="156"/>
                    </a:cubicBezTo>
                    <a:cubicBezTo>
                      <a:pt x="361" y="136"/>
                      <a:pt x="361" y="136"/>
                      <a:pt x="361" y="136"/>
                    </a:cubicBezTo>
                    <a:cubicBezTo>
                      <a:pt x="357" y="119"/>
                      <a:pt x="357" y="119"/>
                      <a:pt x="357" y="119"/>
                    </a:cubicBezTo>
                    <a:cubicBezTo>
                      <a:pt x="361" y="116"/>
                      <a:pt x="361" y="116"/>
                      <a:pt x="361" y="116"/>
                    </a:cubicBezTo>
                    <a:cubicBezTo>
                      <a:pt x="361" y="116"/>
                      <a:pt x="361" y="102"/>
                      <a:pt x="360" y="94"/>
                    </a:cubicBezTo>
                    <a:cubicBezTo>
                      <a:pt x="358" y="85"/>
                      <a:pt x="350" y="83"/>
                      <a:pt x="350" y="83"/>
                    </a:cubicBezTo>
                    <a:cubicBezTo>
                      <a:pt x="350" y="83"/>
                      <a:pt x="349" y="76"/>
                      <a:pt x="346" y="71"/>
                    </a:cubicBezTo>
                    <a:cubicBezTo>
                      <a:pt x="345" y="67"/>
                      <a:pt x="332" y="65"/>
                      <a:pt x="332" y="65"/>
                    </a:cubicBezTo>
                    <a:cubicBezTo>
                      <a:pt x="332" y="65"/>
                      <a:pt x="316" y="46"/>
                      <a:pt x="310" y="40"/>
                    </a:cubicBezTo>
                    <a:cubicBezTo>
                      <a:pt x="304" y="36"/>
                      <a:pt x="299" y="33"/>
                      <a:pt x="291" y="18"/>
                    </a:cubicBezTo>
                    <a:cubicBezTo>
                      <a:pt x="285" y="4"/>
                      <a:pt x="270" y="2"/>
                      <a:pt x="270" y="2"/>
                    </a:cubicBezTo>
                    <a:cubicBezTo>
                      <a:pt x="252" y="0"/>
                      <a:pt x="247" y="24"/>
                      <a:pt x="247" y="24"/>
                    </a:cubicBezTo>
                    <a:cubicBezTo>
                      <a:pt x="247" y="24"/>
                      <a:pt x="230" y="33"/>
                      <a:pt x="215" y="37"/>
                    </a:cubicBezTo>
                    <a:cubicBezTo>
                      <a:pt x="199" y="41"/>
                      <a:pt x="211" y="48"/>
                      <a:pt x="202" y="51"/>
                    </a:cubicBezTo>
                    <a:cubicBezTo>
                      <a:pt x="192" y="53"/>
                      <a:pt x="182" y="40"/>
                      <a:pt x="178" y="39"/>
                    </a:cubicBezTo>
                    <a:cubicBezTo>
                      <a:pt x="173" y="37"/>
                      <a:pt x="164" y="44"/>
                      <a:pt x="164" y="44"/>
                    </a:cubicBezTo>
                    <a:cubicBezTo>
                      <a:pt x="164" y="44"/>
                      <a:pt x="141" y="45"/>
                      <a:pt x="129" y="46"/>
                    </a:cubicBezTo>
                    <a:cubicBezTo>
                      <a:pt x="116" y="47"/>
                      <a:pt x="122" y="37"/>
                      <a:pt x="115" y="37"/>
                    </a:cubicBezTo>
                    <a:cubicBezTo>
                      <a:pt x="110" y="37"/>
                      <a:pt x="111" y="48"/>
                      <a:pt x="111" y="48"/>
                    </a:cubicBezTo>
                    <a:cubicBezTo>
                      <a:pt x="107" y="47"/>
                      <a:pt x="107" y="47"/>
                      <a:pt x="107" y="47"/>
                    </a:cubicBezTo>
                    <a:cubicBezTo>
                      <a:pt x="105" y="52"/>
                      <a:pt x="105" y="52"/>
                      <a:pt x="105" y="52"/>
                    </a:cubicBezTo>
                    <a:cubicBezTo>
                      <a:pt x="93" y="67"/>
                      <a:pt x="93" y="67"/>
                      <a:pt x="93" y="67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1" y="70"/>
                      <a:pt x="81" y="70"/>
                      <a:pt x="81" y="70"/>
                    </a:cubicBezTo>
                    <a:cubicBezTo>
                      <a:pt x="70" y="87"/>
                      <a:pt x="70" y="87"/>
                      <a:pt x="70" y="87"/>
                    </a:cubicBezTo>
                    <a:cubicBezTo>
                      <a:pt x="71" y="94"/>
                      <a:pt x="71" y="94"/>
                      <a:pt x="71" y="94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5" y="108"/>
                      <a:pt x="65" y="108"/>
                      <a:pt x="65" y="108"/>
                    </a:cubicBezTo>
                    <a:cubicBezTo>
                      <a:pt x="58" y="119"/>
                      <a:pt x="58" y="119"/>
                      <a:pt x="58" y="119"/>
                    </a:cubicBezTo>
                    <a:cubicBezTo>
                      <a:pt x="59" y="125"/>
                      <a:pt x="59" y="125"/>
                      <a:pt x="59" y="125"/>
                    </a:cubicBezTo>
                    <a:cubicBezTo>
                      <a:pt x="53" y="135"/>
                      <a:pt x="53" y="135"/>
                      <a:pt x="53" y="135"/>
                    </a:cubicBezTo>
                    <a:cubicBezTo>
                      <a:pt x="55" y="140"/>
                      <a:pt x="55" y="140"/>
                      <a:pt x="55" y="140"/>
                    </a:cubicBezTo>
                    <a:cubicBezTo>
                      <a:pt x="49" y="148"/>
                      <a:pt x="49" y="148"/>
                      <a:pt x="49" y="148"/>
                    </a:cubicBezTo>
                    <a:cubicBezTo>
                      <a:pt x="45" y="148"/>
                      <a:pt x="45" y="148"/>
                      <a:pt x="45" y="148"/>
                    </a:cubicBezTo>
                    <a:cubicBezTo>
                      <a:pt x="47" y="161"/>
                      <a:pt x="47" y="161"/>
                      <a:pt x="47" y="161"/>
                    </a:cubicBezTo>
                    <a:cubicBezTo>
                      <a:pt x="43" y="164"/>
                      <a:pt x="43" y="164"/>
                      <a:pt x="43" y="164"/>
                    </a:cubicBezTo>
                    <a:cubicBezTo>
                      <a:pt x="43" y="164"/>
                      <a:pt x="45" y="170"/>
                      <a:pt x="42" y="173"/>
                    </a:cubicBezTo>
                    <a:cubicBezTo>
                      <a:pt x="39" y="177"/>
                      <a:pt x="33" y="173"/>
                      <a:pt x="27" y="174"/>
                    </a:cubicBezTo>
                    <a:cubicBezTo>
                      <a:pt x="22" y="175"/>
                      <a:pt x="24" y="182"/>
                      <a:pt x="21" y="183"/>
                    </a:cubicBezTo>
                    <a:cubicBezTo>
                      <a:pt x="17" y="184"/>
                      <a:pt x="12" y="181"/>
                      <a:pt x="12" y="181"/>
                    </a:cubicBezTo>
                    <a:cubicBezTo>
                      <a:pt x="10" y="184"/>
                      <a:pt x="10" y="184"/>
                      <a:pt x="10" y="184"/>
                    </a:cubicBezTo>
                    <a:cubicBezTo>
                      <a:pt x="0" y="184"/>
                      <a:pt x="0" y="184"/>
                      <a:pt x="0" y="184"/>
                    </a:cubicBezTo>
                    <a:cubicBezTo>
                      <a:pt x="7" y="195"/>
                      <a:pt x="7" y="195"/>
                      <a:pt x="7" y="195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5" y="197"/>
                      <a:pt x="15" y="197"/>
                      <a:pt x="15" y="197"/>
                    </a:cubicBezTo>
                    <a:cubicBezTo>
                      <a:pt x="17" y="197"/>
                      <a:pt x="17" y="197"/>
                      <a:pt x="17" y="197"/>
                    </a:cubicBezTo>
                    <a:cubicBezTo>
                      <a:pt x="17" y="197"/>
                      <a:pt x="18" y="208"/>
                      <a:pt x="22" y="208"/>
                    </a:cubicBezTo>
                    <a:cubicBezTo>
                      <a:pt x="25" y="208"/>
                      <a:pt x="31" y="205"/>
                      <a:pt x="31" y="205"/>
                    </a:cubicBezTo>
                    <a:cubicBezTo>
                      <a:pt x="28" y="216"/>
                      <a:pt x="28" y="216"/>
                      <a:pt x="28" y="216"/>
                    </a:cubicBezTo>
                    <a:cubicBezTo>
                      <a:pt x="33" y="219"/>
                      <a:pt x="33" y="219"/>
                      <a:pt x="33" y="219"/>
                    </a:cubicBezTo>
                    <a:cubicBezTo>
                      <a:pt x="30" y="224"/>
                      <a:pt x="30" y="224"/>
                      <a:pt x="30" y="224"/>
                    </a:cubicBezTo>
                    <a:cubicBezTo>
                      <a:pt x="45" y="235"/>
                      <a:pt x="45" y="235"/>
                      <a:pt x="45" y="235"/>
                    </a:cubicBezTo>
                    <a:cubicBezTo>
                      <a:pt x="50" y="233"/>
                      <a:pt x="50" y="233"/>
                      <a:pt x="50" y="233"/>
                    </a:cubicBezTo>
                    <a:cubicBezTo>
                      <a:pt x="55" y="237"/>
                      <a:pt x="55" y="237"/>
                      <a:pt x="55" y="237"/>
                    </a:cubicBezTo>
                    <a:cubicBezTo>
                      <a:pt x="55" y="237"/>
                      <a:pt x="67" y="231"/>
                      <a:pt x="68" y="239"/>
                    </a:cubicBezTo>
                    <a:cubicBezTo>
                      <a:pt x="68" y="247"/>
                      <a:pt x="63" y="254"/>
                      <a:pt x="63" y="254"/>
                    </a:cubicBezTo>
                    <a:cubicBezTo>
                      <a:pt x="72" y="256"/>
                      <a:pt x="72" y="256"/>
                      <a:pt x="72" y="256"/>
                    </a:cubicBezTo>
                    <a:cubicBezTo>
                      <a:pt x="71" y="260"/>
                      <a:pt x="71" y="260"/>
                      <a:pt x="71" y="260"/>
                    </a:cubicBezTo>
                    <a:cubicBezTo>
                      <a:pt x="63" y="263"/>
                      <a:pt x="63" y="263"/>
                      <a:pt x="63" y="263"/>
                    </a:cubicBezTo>
                    <a:cubicBezTo>
                      <a:pt x="63" y="263"/>
                      <a:pt x="72" y="265"/>
                      <a:pt x="75" y="266"/>
                    </a:cubicBezTo>
                    <a:cubicBezTo>
                      <a:pt x="77" y="267"/>
                      <a:pt x="79" y="272"/>
                      <a:pt x="83" y="273"/>
                    </a:cubicBezTo>
                    <a:cubicBezTo>
                      <a:pt x="88" y="275"/>
                      <a:pt x="92" y="268"/>
                      <a:pt x="95" y="271"/>
                    </a:cubicBezTo>
                    <a:cubicBezTo>
                      <a:pt x="99" y="273"/>
                      <a:pt x="99" y="282"/>
                      <a:pt x="103" y="281"/>
                    </a:cubicBezTo>
                    <a:cubicBezTo>
                      <a:pt x="107" y="281"/>
                      <a:pt x="108" y="263"/>
                      <a:pt x="115" y="263"/>
                    </a:cubicBezTo>
                    <a:cubicBezTo>
                      <a:pt x="124" y="265"/>
                      <a:pt x="130" y="270"/>
                      <a:pt x="130" y="270"/>
                    </a:cubicBezTo>
                    <a:cubicBezTo>
                      <a:pt x="129" y="274"/>
                      <a:pt x="129" y="274"/>
                      <a:pt x="129" y="274"/>
                    </a:cubicBezTo>
                    <a:cubicBezTo>
                      <a:pt x="125" y="272"/>
                      <a:pt x="125" y="272"/>
                      <a:pt x="125" y="272"/>
                    </a:cubicBezTo>
                    <a:cubicBezTo>
                      <a:pt x="123" y="278"/>
                      <a:pt x="123" y="278"/>
                      <a:pt x="123" y="278"/>
                    </a:cubicBezTo>
                    <a:cubicBezTo>
                      <a:pt x="120" y="278"/>
                      <a:pt x="120" y="278"/>
                      <a:pt x="120" y="278"/>
                    </a:cubicBezTo>
                    <a:cubicBezTo>
                      <a:pt x="123" y="290"/>
                      <a:pt x="123" y="290"/>
                      <a:pt x="123" y="290"/>
                    </a:cubicBezTo>
                    <a:cubicBezTo>
                      <a:pt x="123" y="290"/>
                      <a:pt x="129" y="286"/>
                      <a:pt x="130" y="290"/>
                    </a:cubicBezTo>
                    <a:cubicBezTo>
                      <a:pt x="131" y="291"/>
                      <a:pt x="130" y="293"/>
                      <a:pt x="129" y="294"/>
                    </a:cubicBezTo>
                    <a:cubicBezTo>
                      <a:pt x="133" y="296"/>
                      <a:pt x="139" y="299"/>
                      <a:pt x="141" y="299"/>
                    </a:cubicBezTo>
                    <a:cubicBezTo>
                      <a:pt x="145" y="300"/>
                      <a:pt x="148" y="298"/>
                      <a:pt x="148" y="302"/>
                    </a:cubicBezTo>
                    <a:cubicBezTo>
                      <a:pt x="149" y="307"/>
                      <a:pt x="142" y="306"/>
                      <a:pt x="141" y="312"/>
                    </a:cubicBezTo>
                    <a:cubicBezTo>
                      <a:pt x="141" y="317"/>
                      <a:pt x="145" y="318"/>
                      <a:pt x="151" y="318"/>
                    </a:cubicBezTo>
                    <a:cubicBezTo>
                      <a:pt x="156" y="319"/>
                      <a:pt x="166" y="310"/>
                      <a:pt x="170" y="310"/>
                    </a:cubicBezTo>
                    <a:cubicBezTo>
                      <a:pt x="173" y="310"/>
                      <a:pt x="179" y="314"/>
                      <a:pt x="179" y="314"/>
                    </a:cubicBezTo>
                    <a:cubicBezTo>
                      <a:pt x="187" y="314"/>
                      <a:pt x="187" y="314"/>
                      <a:pt x="187" y="314"/>
                    </a:cubicBezTo>
                    <a:cubicBezTo>
                      <a:pt x="187" y="314"/>
                      <a:pt x="196" y="319"/>
                      <a:pt x="206" y="318"/>
                    </a:cubicBezTo>
                    <a:cubicBezTo>
                      <a:pt x="217" y="317"/>
                      <a:pt x="218" y="312"/>
                      <a:pt x="221" y="309"/>
                    </a:cubicBezTo>
                    <a:cubicBezTo>
                      <a:pt x="225" y="308"/>
                      <a:pt x="226" y="310"/>
                      <a:pt x="229" y="310"/>
                    </a:cubicBezTo>
                    <a:cubicBezTo>
                      <a:pt x="234" y="312"/>
                      <a:pt x="243" y="307"/>
                      <a:pt x="243" y="307"/>
                    </a:cubicBezTo>
                    <a:cubicBezTo>
                      <a:pt x="250" y="310"/>
                      <a:pt x="250" y="310"/>
                      <a:pt x="250" y="310"/>
                    </a:cubicBezTo>
                    <a:cubicBezTo>
                      <a:pt x="256" y="307"/>
                      <a:pt x="256" y="307"/>
                      <a:pt x="256" y="307"/>
                    </a:cubicBezTo>
                    <a:cubicBezTo>
                      <a:pt x="256" y="307"/>
                      <a:pt x="258" y="312"/>
                      <a:pt x="271" y="309"/>
                    </a:cubicBezTo>
                    <a:cubicBezTo>
                      <a:pt x="283" y="306"/>
                      <a:pt x="286" y="298"/>
                      <a:pt x="290" y="292"/>
                    </a:cubicBezTo>
                    <a:cubicBezTo>
                      <a:pt x="294" y="286"/>
                      <a:pt x="302" y="276"/>
                      <a:pt x="308" y="275"/>
                    </a:cubicBezTo>
                    <a:cubicBezTo>
                      <a:pt x="313" y="274"/>
                      <a:pt x="328" y="265"/>
                      <a:pt x="337" y="262"/>
                    </a:cubicBezTo>
                    <a:cubicBezTo>
                      <a:pt x="345" y="259"/>
                      <a:pt x="351" y="267"/>
                      <a:pt x="355" y="268"/>
                    </a:cubicBezTo>
                    <a:cubicBezTo>
                      <a:pt x="359" y="269"/>
                      <a:pt x="365" y="262"/>
                      <a:pt x="367" y="262"/>
                    </a:cubicBezTo>
                    <a:cubicBezTo>
                      <a:pt x="369" y="262"/>
                      <a:pt x="369" y="267"/>
                      <a:pt x="372" y="268"/>
                    </a:cubicBezTo>
                    <a:cubicBezTo>
                      <a:pt x="375" y="269"/>
                      <a:pt x="381" y="262"/>
                      <a:pt x="381" y="262"/>
                    </a:cubicBezTo>
                    <a:cubicBezTo>
                      <a:pt x="385" y="272"/>
                      <a:pt x="385" y="272"/>
                      <a:pt x="385" y="272"/>
                    </a:cubicBezTo>
                    <a:cubicBezTo>
                      <a:pt x="385" y="272"/>
                      <a:pt x="393" y="274"/>
                      <a:pt x="397" y="274"/>
                    </a:cubicBezTo>
                    <a:cubicBezTo>
                      <a:pt x="401" y="275"/>
                      <a:pt x="413" y="273"/>
                      <a:pt x="413" y="273"/>
                    </a:cubicBezTo>
                    <a:cubicBezTo>
                      <a:pt x="413" y="273"/>
                      <a:pt x="415" y="265"/>
                      <a:pt x="414" y="257"/>
                    </a:cubicBezTo>
                    <a:cubicBezTo>
                      <a:pt x="414" y="249"/>
                      <a:pt x="408" y="239"/>
                      <a:pt x="408" y="239"/>
                    </a:cubicBezTo>
                    <a:cubicBezTo>
                      <a:pt x="419" y="214"/>
                      <a:pt x="419" y="214"/>
                      <a:pt x="419" y="214"/>
                    </a:cubicBezTo>
                    <a:cubicBezTo>
                      <a:pt x="411" y="221"/>
                      <a:pt x="411" y="221"/>
                      <a:pt x="411" y="221"/>
                    </a:cubicBezTo>
                    <a:cubicBezTo>
                      <a:pt x="411" y="209"/>
                      <a:pt x="411" y="209"/>
                      <a:pt x="411" y="209"/>
                    </a:cubicBezTo>
                    <a:cubicBezTo>
                      <a:pt x="407" y="207"/>
                      <a:pt x="407" y="207"/>
                      <a:pt x="407" y="207"/>
                    </a:cubicBezTo>
                    <a:cubicBezTo>
                      <a:pt x="415" y="203"/>
                      <a:pt x="415" y="203"/>
                      <a:pt x="415" y="203"/>
                    </a:cubicBezTo>
                    <a:cubicBezTo>
                      <a:pt x="415" y="203"/>
                      <a:pt x="411" y="197"/>
                      <a:pt x="413" y="191"/>
                    </a:cubicBezTo>
                    <a:cubicBezTo>
                      <a:pt x="414" y="184"/>
                      <a:pt x="421" y="189"/>
                      <a:pt x="421" y="189"/>
                    </a:cubicBezTo>
                    <a:cubicBezTo>
                      <a:pt x="420" y="193"/>
                      <a:pt x="420" y="193"/>
                      <a:pt x="420" y="193"/>
                    </a:cubicBezTo>
                    <a:cubicBezTo>
                      <a:pt x="422" y="198"/>
                      <a:pt x="422" y="198"/>
                      <a:pt x="422" y="198"/>
                    </a:cubicBezTo>
                    <a:cubicBezTo>
                      <a:pt x="424" y="195"/>
                      <a:pt x="424" y="195"/>
                      <a:pt x="424" y="195"/>
                    </a:cubicBezTo>
                    <a:cubicBezTo>
                      <a:pt x="426" y="198"/>
                      <a:pt x="426" y="198"/>
                      <a:pt x="426" y="198"/>
                    </a:cubicBezTo>
                    <a:cubicBezTo>
                      <a:pt x="419" y="204"/>
                      <a:pt x="419" y="204"/>
                      <a:pt x="419" y="204"/>
                    </a:cubicBezTo>
                    <a:cubicBezTo>
                      <a:pt x="423" y="207"/>
                      <a:pt x="423" y="207"/>
                      <a:pt x="423" y="207"/>
                    </a:cubicBezTo>
                    <a:cubicBezTo>
                      <a:pt x="423" y="207"/>
                      <a:pt x="428" y="202"/>
                      <a:pt x="431" y="199"/>
                    </a:cubicBezTo>
                    <a:cubicBezTo>
                      <a:pt x="434" y="198"/>
                      <a:pt x="439" y="198"/>
                      <a:pt x="443" y="192"/>
                    </a:cubicBezTo>
                    <a:cubicBezTo>
                      <a:pt x="448" y="187"/>
                      <a:pt x="443" y="167"/>
                      <a:pt x="443" y="167"/>
                    </a:cubicBezTo>
                    <a:close/>
                    <a:moveTo>
                      <a:pt x="415" y="211"/>
                    </a:moveTo>
                    <a:cubicBezTo>
                      <a:pt x="418" y="212"/>
                      <a:pt x="418" y="212"/>
                      <a:pt x="418" y="212"/>
                    </a:cubicBezTo>
                    <a:cubicBezTo>
                      <a:pt x="420" y="209"/>
                      <a:pt x="420" y="209"/>
                      <a:pt x="420" y="209"/>
                    </a:cubicBezTo>
                    <a:cubicBezTo>
                      <a:pt x="418" y="207"/>
                      <a:pt x="418" y="207"/>
                      <a:pt x="418" y="207"/>
                    </a:cubicBezTo>
                    <a:lnTo>
                      <a:pt x="415" y="211"/>
                    </a:ln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63" name="Polen" descr="© INSCALE GmbH, 05.05.2010&#10;http://www.presentationload.com/"/>
              <p:cNvSpPr>
                <a:spLocks/>
              </p:cNvSpPr>
              <p:nvPr/>
            </p:nvSpPr>
            <p:spPr bwMode="gray">
              <a:xfrm>
                <a:off x="4190408" y="2569645"/>
                <a:ext cx="1217243" cy="1004063"/>
              </a:xfrm>
              <a:custGeom>
                <a:avLst/>
                <a:gdLst/>
                <a:ahLst/>
                <a:cxnLst>
                  <a:cxn ang="0">
                    <a:pos x="430" y="225"/>
                  </a:cxn>
                  <a:cxn ang="0">
                    <a:pos x="402" y="196"/>
                  </a:cxn>
                  <a:cxn ang="0">
                    <a:pos x="398" y="168"/>
                  </a:cxn>
                  <a:cxn ang="0">
                    <a:pos x="390" y="146"/>
                  </a:cxn>
                  <a:cxn ang="0">
                    <a:pos x="398" y="112"/>
                  </a:cxn>
                  <a:cxn ang="0">
                    <a:pos x="393" y="84"/>
                  </a:cxn>
                  <a:cxn ang="0">
                    <a:pos x="376" y="44"/>
                  </a:cxn>
                  <a:cxn ang="0">
                    <a:pos x="364" y="17"/>
                  </a:cxn>
                  <a:cxn ang="0">
                    <a:pos x="337" y="9"/>
                  </a:cxn>
                  <a:cxn ang="0">
                    <a:pos x="224" y="18"/>
                  </a:cxn>
                  <a:cxn ang="0">
                    <a:pos x="216" y="26"/>
                  </a:cxn>
                  <a:cxn ang="0">
                    <a:pos x="204" y="33"/>
                  </a:cxn>
                  <a:cxn ang="0">
                    <a:pos x="212" y="23"/>
                  </a:cxn>
                  <a:cxn ang="0">
                    <a:pos x="211" y="22"/>
                  </a:cxn>
                  <a:cxn ang="0">
                    <a:pos x="173" y="8"/>
                  </a:cxn>
                  <a:cxn ang="0">
                    <a:pos x="175" y="5"/>
                  </a:cxn>
                  <a:cxn ang="0">
                    <a:pos x="123" y="9"/>
                  </a:cxn>
                  <a:cxn ang="0">
                    <a:pos x="88" y="30"/>
                  </a:cxn>
                  <a:cxn ang="0">
                    <a:pos x="38" y="46"/>
                  </a:cxn>
                  <a:cxn ang="0">
                    <a:pos x="6" y="60"/>
                  </a:cxn>
                  <a:cxn ang="0">
                    <a:pos x="16" y="63"/>
                  </a:cxn>
                  <a:cxn ang="0">
                    <a:pos x="24" y="58"/>
                  </a:cxn>
                  <a:cxn ang="0">
                    <a:pos x="19" y="80"/>
                  </a:cxn>
                  <a:cxn ang="0">
                    <a:pos x="22" y="88"/>
                  </a:cxn>
                  <a:cxn ang="0">
                    <a:pos x="6" y="83"/>
                  </a:cxn>
                  <a:cxn ang="0">
                    <a:pos x="2" y="124"/>
                  </a:cxn>
                  <a:cxn ang="0">
                    <a:pos x="19" y="163"/>
                  </a:cxn>
                  <a:cxn ang="0">
                    <a:pos x="24" y="195"/>
                  </a:cxn>
                  <a:cxn ang="0">
                    <a:pos x="39" y="226"/>
                  </a:cxn>
                  <a:cxn ang="0">
                    <a:pos x="36" y="261"/>
                  </a:cxn>
                  <a:cxn ang="0">
                    <a:pos x="44" y="258"/>
                  </a:cxn>
                  <a:cxn ang="0">
                    <a:pos x="58" y="264"/>
                  </a:cxn>
                  <a:cxn ang="0">
                    <a:pos x="88" y="275"/>
                  </a:cxn>
                  <a:cxn ang="0">
                    <a:pos x="109" y="280"/>
                  </a:cxn>
                  <a:cxn ang="0">
                    <a:pos x="114" y="308"/>
                  </a:cxn>
                  <a:cxn ang="0">
                    <a:pos x="134" y="302"/>
                  </a:cxn>
                  <a:cxn ang="0">
                    <a:pos x="127" y="287"/>
                  </a:cxn>
                  <a:cxn ang="0">
                    <a:pos x="162" y="293"/>
                  </a:cxn>
                  <a:cxn ang="0">
                    <a:pos x="166" y="308"/>
                  </a:cxn>
                  <a:cxn ang="0">
                    <a:pos x="176" y="309"/>
                  </a:cxn>
                  <a:cxn ang="0">
                    <a:pos x="205" y="329"/>
                  </a:cxn>
                  <a:cxn ang="0">
                    <a:pos x="221" y="340"/>
                  </a:cxn>
                  <a:cxn ang="0">
                    <a:pos x="234" y="339"/>
                  </a:cxn>
                  <a:cxn ang="0">
                    <a:pos x="248" y="341"/>
                  </a:cxn>
                  <a:cxn ang="0">
                    <a:pos x="257" y="342"/>
                  </a:cxn>
                  <a:cxn ang="0">
                    <a:pos x="265" y="353"/>
                  </a:cxn>
                  <a:cxn ang="0">
                    <a:pos x="288" y="339"/>
                  </a:cxn>
                  <a:cxn ang="0">
                    <a:pos x="314" y="337"/>
                  </a:cxn>
                  <a:cxn ang="0">
                    <a:pos x="343" y="335"/>
                  </a:cxn>
                  <a:cxn ang="0">
                    <a:pos x="381" y="348"/>
                  </a:cxn>
                  <a:cxn ang="0">
                    <a:pos x="386" y="341"/>
                  </a:cxn>
                  <a:cxn ang="0">
                    <a:pos x="392" y="301"/>
                  </a:cxn>
                  <a:cxn ang="0">
                    <a:pos x="428" y="254"/>
                  </a:cxn>
                </a:cxnLst>
                <a:rect l="0" t="0" r="r" b="b"/>
                <a:pathLst>
                  <a:path w="431" h="356">
                    <a:moveTo>
                      <a:pt x="422" y="231"/>
                    </a:moveTo>
                    <a:cubicBezTo>
                      <a:pt x="423" y="229"/>
                      <a:pt x="427" y="228"/>
                      <a:pt x="427" y="228"/>
                    </a:cubicBezTo>
                    <a:cubicBezTo>
                      <a:pt x="430" y="225"/>
                      <a:pt x="430" y="225"/>
                      <a:pt x="430" y="225"/>
                    </a:cubicBezTo>
                    <a:cubicBezTo>
                      <a:pt x="430" y="225"/>
                      <a:pt x="422" y="222"/>
                      <a:pt x="419" y="218"/>
                    </a:cubicBezTo>
                    <a:cubicBezTo>
                      <a:pt x="417" y="215"/>
                      <a:pt x="415" y="210"/>
                      <a:pt x="411" y="207"/>
                    </a:cubicBezTo>
                    <a:cubicBezTo>
                      <a:pt x="407" y="203"/>
                      <a:pt x="402" y="202"/>
                      <a:pt x="402" y="196"/>
                    </a:cubicBezTo>
                    <a:cubicBezTo>
                      <a:pt x="402" y="189"/>
                      <a:pt x="398" y="185"/>
                      <a:pt x="396" y="181"/>
                    </a:cubicBezTo>
                    <a:cubicBezTo>
                      <a:pt x="394" y="178"/>
                      <a:pt x="394" y="172"/>
                      <a:pt x="394" y="172"/>
                    </a:cubicBezTo>
                    <a:cubicBezTo>
                      <a:pt x="398" y="168"/>
                      <a:pt x="398" y="168"/>
                      <a:pt x="398" y="168"/>
                    </a:cubicBezTo>
                    <a:cubicBezTo>
                      <a:pt x="395" y="162"/>
                      <a:pt x="395" y="162"/>
                      <a:pt x="395" y="162"/>
                    </a:cubicBezTo>
                    <a:cubicBezTo>
                      <a:pt x="397" y="154"/>
                      <a:pt x="397" y="154"/>
                      <a:pt x="397" y="154"/>
                    </a:cubicBezTo>
                    <a:cubicBezTo>
                      <a:pt x="397" y="154"/>
                      <a:pt x="399" y="149"/>
                      <a:pt x="390" y="146"/>
                    </a:cubicBezTo>
                    <a:cubicBezTo>
                      <a:pt x="380" y="141"/>
                      <a:pt x="373" y="141"/>
                      <a:pt x="373" y="141"/>
                    </a:cubicBezTo>
                    <a:cubicBezTo>
                      <a:pt x="373" y="141"/>
                      <a:pt x="374" y="126"/>
                      <a:pt x="380" y="120"/>
                    </a:cubicBezTo>
                    <a:cubicBezTo>
                      <a:pt x="386" y="115"/>
                      <a:pt x="398" y="112"/>
                      <a:pt x="398" y="112"/>
                    </a:cubicBezTo>
                    <a:cubicBezTo>
                      <a:pt x="396" y="93"/>
                      <a:pt x="396" y="93"/>
                      <a:pt x="396" y="93"/>
                    </a:cubicBezTo>
                    <a:cubicBezTo>
                      <a:pt x="398" y="92"/>
                      <a:pt x="398" y="92"/>
                      <a:pt x="398" y="92"/>
                    </a:cubicBezTo>
                    <a:cubicBezTo>
                      <a:pt x="393" y="84"/>
                      <a:pt x="393" y="84"/>
                      <a:pt x="393" y="84"/>
                    </a:cubicBezTo>
                    <a:cubicBezTo>
                      <a:pt x="395" y="80"/>
                      <a:pt x="395" y="80"/>
                      <a:pt x="395" y="80"/>
                    </a:cubicBezTo>
                    <a:cubicBezTo>
                      <a:pt x="395" y="80"/>
                      <a:pt x="380" y="62"/>
                      <a:pt x="379" y="56"/>
                    </a:cubicBezTo>
                    <a:cubicBezTo>
                      <a:pt x="377" y="50"/>
                      <a:pt x="376" y="44"/>
                      <a:pt x="376" y="44"/>
                    </a:cubicBezTo>
                    <a:cubicBezTo>
                      <a:pt x="368" y="31"/>
                      <a:pt x="368" y="31"/>
                      <a:pt x="368" y="31"/>
                    </a:cubicBezTo>
                    <a:cubicBezTo>
                      <a:pt x="365" y="28"/>
                      <a:pt x="365" y="28"/>
                      <a:pt x="365" y="28"/>
                    </a:cubicBezTo>
                    <a:cubicBezTo>
                      <a:pt x="365" y="28"/>
                      <a:pt x="368" y="25"/>
                      <a:pt x="364" y="17"/>
                    </a:cubicBezTo>
                    <a:cubicBezTo>
                      <a:pt x="359" y="9"/>
                      <a:pt x="351" y="11"/>
                      <a:pt x="347" y="11"/>
                    </a:cubicBezTo>
                    <a:cubicBezTo>
                      <a:pt x="343" y="10"/>
                      <a:pt x="344" y="6"/>
                      <a:pt x="341" y="5"/>
                    </a:cubicBezTo>
                    <a:cubicBezTo>
                      <a:pt x="338" y="4"/>
                      <a:pt x="337" y="9"/>
                      <a:pt x="337" y="9"/>
                    </a:cubicBezTo>
                    <a:cubicBezTo>
                      <a:pt x="335" y="9"/>
                      <a:pt x="335" y="9"/>
                      <a:pt x="335" y="9"/>
                    </a:cubicBezTo>
                    <a:cubicBezTo>
                      <a:pt x="334" y="9"/>
                      <a:pt x="296" y="19"/>
                      <a:pt x="280" y="19"/>
                    </a:cubicBezTo>
                    <a:cubicBezTo>
                      <a:pt x="265" y="20"/>
                      <a:pt x="224" y="18"/>
                      <a:pt x="224" y="18"/>
                    </a:cubicBezTo>
                    <a:cubicBezTo>
                      <a:pt x="221" y="21"/>
                      <a:pt x="221" y="21"/>
                      <a:pt x="221" y="21"/>
                    </a:cubicBezTo>
                    <a:cubicBezTo>
                      <a:pt x="217" y="21"/>
                      <a:pt x="217" y="21"/>
                      <a:pt x="217" y="21"/>
                    </a:cubicBezTo>
                    <a:cubicBezTo>
                      <a:pt x="216" y="26"/>
                      <a:pt x="216" y="26"/>
                      <a:pt x="216" y="26"/>
                    </a:cubicBezTo>
                    <a:cubicBezTo>
                      <a:pt x="216" y="26"/>
                      <a:pt x="212" y="27"/>
                      <a:pt x="210" y="29"/>
                    </a:cubicBezTo>
                    <a:cubicBezTo>
                      <a:pt x="209" y="30"/>
                      <a:pt x="208" y="35"/>
                      <a:pt x="208" y="35"/>
                    </a:cubicBezTo>
                    <a:cubicBezTo>
                      <a:pt x="204" y="33"/>
                      <a:pt x="204" y="33"/>
                      <a:pt x="204" y="33"/>
                    </a:cubicBezTo>
                    <a:cubicBezTo>
                      <a:pt x="200" y="33"/>
                      <a:pt x="200" y="33"/>
                      <a:pt x="200" y="33"/>
                    </a:cubicBezTo>
                    <a:cubicBezTo>
                      <a:pt x="202" y="29"/>
                      <a:pt x="202" y="29"/>
                      <a:pt x="202" y="29"/>
                    </a:cubicBezTo>
                    <a:cubicBezTo>
                      <a:pt x="202" y="29"/>
                      <a:pt x="209" y="25"/>
                      <a:pt x="212" y="23"/>
                    </a:cubicBezTo>
                    <a:cubicBezTo>
                      <a:pt x="216" y="21"/>
                      <a:pt x="224" y="9"/>
                      <a:pt x="224" y="9"/>
                    </a:cubicBezTo>
                    <a:cubicBezTo>
                      <a:pt x="222" y="7"/>
                      <a:pt x="222" y="7"/>
                      <a:pt x="222" y="7"/>
                    </a:cubicBezTo>
                    <a:cubicBezTo>
                      <a:pt x="222" y="7"/>
                      <a:pt x="214" y="21"/>
                      <a:pt x="211" y="22"/>
                    </a:cubicBezTo>
                    <a:cubicBezTo>
                      <a:pt x="209" y="22"/>
                      <a:pt x="191" y="36"/>
                      <a:pt x="180" y="27"/>
                    </a:cubicBezTo>
                    <a:cubicBezTo>
                      <a:pt x="168" y="19"/>
                      <a:pt x="166" y="6"/>
                      <a:pt x="166" y="6"/>
                    </a:cubicBezTo>
                    <a:cubicBezTo>
                      <a:pt x="166" y="6"/>
                      <a:pt x="171" y="7"/>
                      <a:pt x="173" y="8"/>
                    </a:cubicBezTo>
                    <a:cubicBezTo>
                      <a:pt x="176" y="9"/>
                      <a:pt x="181" y="14"/>
                      <a:pt x="181" y="14"/>
                    </a:cubicBezTo>
                    <a:cubicBezTo>
                      <a:pt x="182" y="12"/>
                      <a:pt x="182" y="12"/>
                      <a:pt x="182" y="12"/>
                    </a:cubicBezTo>
                    <a:cubicBezTo>
                      <a:pt x="182" y="12"/>
                      <a:pt x="178" y="7"/>
                      <a:pt x="175" y="5"/>
                    </a:cubicBezTo>
                    <a:cubicBezTo>
                      <a:pt x="171" y="4"/>
                      <a:pt x="164" y="0"/>
                      <a:pt x="160" y="0"/>
                    </a:cubicBezTo>
                    <a:cubicBezTo>
                      <a:pt x="156" y="0"/>
                      <a:pt x="140" y="6"/>
                      <a:pt x="136" y="7"/>
                    </a:cubicBezTo>
                    <a:cubicBezTo>
                      <a:pt x="132" y="7"/>
                      <a:pt x="128" y="9"/>
                      <a:pt x="123" y="9"/>
                    </a:cubicBezTo>
                    <a:cubicBezTo>
                      <a:pt x="119" y="10"/>
                      <a:pt x="111" y="18"/>
                      <a:pt x="107" y="20"/>
                    </a:cubicBezTo>
                    <a:cubicBezTo>
                      <a:pt x="103" y="22"/>
                      <a:pt x="98" y="21"/>
                      <a:pt x="95" y="24"/>
                    </a:cubicBezTo>
                    <a:cubicBezTo>
                      <a:pt x="92" y="26"/>
                      <a:pt x="92" y="26"/>
                      <a:pt x="88" y="30"/>
                    </a:cubicBezTo>
                    <a:cubicBezTo>
                      <a:pt x="85" y="34"/>
                      <a:pt x="82" y="37"/>
                      <a:pt x="82" y="37"/>
                    </a:cubicBezTo>
                    <a:cubicBezTo>
                      <a:pt x="60" y="43"/>
                      <a:pt x="42" y="43"/>
                      <a:pt x="42" y="43"/>
                    </a:cubicBezTo>
                    <a:cubicBezTo>
                      <a:pt x="38" y="46"/>
                      <a:pt x="38" y="46"/>
                      <a:pt x="38" y="46"/>
                    </a:cubicBezTo>
                    <a:cubicBezTo>
                      <a:pt x="24" y="51"/>
                      <a:pt x="24" y="51"/>
                      <a:pt x="24" y="51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7" y="62"/>
                      <a:pt x="7" y="62"/>
                      <a:pt x="7" y="62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6" y="63"/>
                      <a:pt x="16" y="63"/>
                      <a:pt x="16" y="63"/>
                    </a:cubicBezTo>
                    <a:cubicBezTo>
                      <a:pt x="20" y="55"/>
                      <a:pt x="20" y="55"/>
                      <a:pt x="20" y="55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58"/>
                      <a:pt x="24" y="58"/>
                      <a:pt x="24" y="58"/>
                    </a:cubicBezTo>
                    <a:cubicBezTo>
                      <a:pt x="24" y="58"/>
                      <a:pt x="19" y="60"/>
                      <a:pt x="19" y="63"/>
                    </a:cubicBezTo>
                    <a:cubicBezTo>
                      <a:pt x="20" y="66"/>
                      <a:pt x="22" y="72"/>
                      <a:pt x="22" y="73"/>
                    </a:cubicBezTo>
                    <a:cubicBezTo>
                      <a:pt x="22" y="74"/>
                      <a:pt x="18" y="77"/>
                      <a:pt x="19" y="80"/>
                    </a:cubicBezTo>
                    <a:cubicBezTo>
                      <a:pt x="21" y="81"/>
                      <a:pt x="30" y="94"/>
                      <a:pt x="26" y="96"/>
                    </a:cubicBezTo>
                    <a:cubicBezTo>
                      <a:pt x="24" y="98"/>
                      <a:pt x="19" y="97"/>
                      <a:pt x="20" y="94"/>
                    </a:cubicBezTo>
                    <a:cubicBezTo>
                      <a:pt x="21" y="91"/>
                      <a:pt x="22" y="88"/>
                      <a:pt x="22" y="88"/>
                    </a:cubicBezTo>
                    <a:cubicBezTo>
                      <a:pt x="19" y="82"/>
                      <a:pt x="19" y="82"/>
                      <a:pt x="19" y="82"/>
                    </a:cubicBezTo>
                    <a:cubicBezTo>
                      <a:pt x="19" y="82"/>
                      <a:pt x="12" y="81"/>
                      <a:pt x="9" y="81"/>
                    </a:cubicBezTo>
                    <a:cubicBezTo>
                      <a:pt x="8" y="81"/>
                      <a:pt x="7" y="82"/>
                      <a:pt x="6" y="83"/>
                    </a:cubicBezTo>
                    <a:cubicBezTo>
                      <a:pt x="7" y="87"/>
                      <a:pt x="7" y="94"/>
                      <a:pt x="9" y="98"/>
                    </a:cubicBezTo>
                    <a:cubicBezTo>
                      <a:pt x="13" y="104"/>
                      <a:pt x="11" y="110"/>
                      <a:pt x="9" y="117"/>
                    </a:cubicBezTo>
                    <a:cubicBezTo>
                      <a:pt x="8" y="121"/>
                      <a:pt x="4" y="121"/>
                      <a:pt x="2" y="124"/>
                    </a:cubicBezTo>
                    <a:cubicBezTo>
                      <a:pt x="1" y="125"/>
                      <a:pt x="1" y="131"/>
                      <a:pt x="0" y="133"/>
                    </a:cubicBezTo>
                    <a:cubicBezTo>
                      <a:pt x="9" y="134"/>
                      <a:pt x="22" y="148"/>
                      <a:pt x="22" y="155"/>
                    </a:cubicBezTo>
                    <a:cubicBezTo>
                      <a:pt x="22" y="159"/>
                      <a:pt x="18" y="157"/>
                      <a:pt x="19" y="163"/>
                    </a:cubicBezTo>
                    <a:cubicBezTo>
                      <a:pt x="20" y="167"/>
                      <a:pt x="20" y="168"/>
                      <a:pt x="24" y="170"/>
                    </a:cubicBezTo>
                    <a:cubicBezTo>
                      <a:pt x="28" y="171"/>
                      <a:pt x="24" y="181"/>
                      <a:pt x="25" y="181"/>
                    </a:cubicBezTo>
                    <a:cubicBezTo>
                      <a:pt x="31" y="182"/>
                      <a:pt x="26" y="192"/>
                      <a:pt x="24" y="195"/>
                    </a:cubicBezTo>
                    <a:cubicBezTo>
                      <a:pt x="20" y="200"/>
                      <a:pt x="28" y="204"/>
                      <a:pt x="30" y="210"/>
                    </a:cubicBezTo>
                    <a:cubicBezTo>
                      <a:pt x="32" y="212"/>
                      <a:pt x="26" y="216"/>
                      <a:pt x="30" y="218"/>
                    </a:cubicBezTo>
                    <a:cubicBezTo>
                      <a:pt x="34" y="220"/>
                      <a:pt x="39" y="219"/>
                      <a:pt x="39" y="226"/>
                    </a:cubicBezTo>
                    <a:cubicBezTo>
                      <a:pt x="39" y="232"/>
                      <a:pt x="45" y="235"/>
                      <a:pt x="42" y="242"/>
                    </a:cubicBezTo>
                    <a:cubicBezTo>
                      <a:pt x="42" y="246"/>
                      <a:pt x="40" y="257"/>
                      <a:pt x="37" y="259"/>
                    </a:cubicBezTo>
                    <a:cubicBezTo>
                      <a:pt x="37" y="260"/>
                      <a:pt x="37" y="260"/>
                      <a:pt x="36" y="261"/>
                    </a:cubicBezTo>
                    <a:cubicBezTo>
                      <a:pt x="44" y="263"/>
                      <a:pt x="44" y="263"/>
                      <a:pt x="44" y="263"/>
                    </a:cubicBezTo>
                    <a:cubicBezTo>
                      <a:pt x="46" y="261"/>
                      <a:pt x="46" y="261"/>
                      <a:pt x="46" y="261"/>
                    </a:cubicBezTo>
                    <a:cubicBezTo>
                      <a:pt x="44" y="258"/>
                      <a:pt x="44" y="258"/>
                      <a:pt x="44" y="258"/>
                    </a:cubicBezTo>
                    <a:cubicBezTo>
                      <a:pt x="46" y="255"/>
                      <a:pt x="46" y="255"/>
                      <a:pt x="46" y="255"/>
                    </a:cubicBezTo>
                    <a:cubicBezTo>
                      <a:pt x="60" y="257"/>
                      <a:pt x="60" y="257"/>
                      <a:pt x="60" y="257"/>
                    </a:cubicBezTo>
                    <a:cubicBezTo>
                      <a:pt x="58" y="264"/>
                      <a:pt x="58" y="264"/>
                      <a:pt x="58" y="264"/>
                    </a:cubicBezTo>
                    <a:cubicBezTo>
                      <a:pt x="66" y="272"/>
                      <a:pt x="66" y="272"/>
                      <a:pt x="66" y="272"/>
                    </a:cubicBezTo>
                    <a:cubicBezTo>
                      <a:pt x="66" y="267"/>
                      <a:pt x="66" y="267"/>
                      <a:pt x="66" y="267"/>
                    </a:cubicBezTo>
                    <a:cubicBezTo>
                      <a:pt x="88" y="275"/>
                      <a:pt x="88" y="275"/>
                      <a:pt x="88" y="275"/>
                    </a:cubicBezTo>
                    <a:cubicBezTo>
                      <a:pt x="89" y="281"/>
                      <a:pt x="89" y="281"/>
                      <a:pt x="89" y="281"/>
                    </a:cubicBezTo>
                    <a:cubicBezTo>
                      <a:pt x="102" y="275"/>
                      <a:pt x="102" y="275"/>
                      <a:pt x="102" y="275"/>
                    </a:cubicBezTo>
                    <a:cubicBezTo>
                      <a:pt x="109" y="280"/>
                      <a:pt x="109" y="280"/>
                      <a:pt x="109" y="280"/>
                    </a:cubicBezTo>
                    <a:cubicBezTo>
                      <a:pt x="109" y="280"/>
                      <a:pt x="96" y="288"/>
                      <a:pt x="98" y="291"/>
                    </a:cubicBezTo>
                    <a:cubicBezTo>
                      <a:pt x="100" y="293"/>
                      <a:pt x="109" y="292"/>
                      <a:pt x="110" y="295"/>
                    </a:cubicBezTo>
                    <a:cubicBezTo>
                      <a:pt x="112" y="298"/>
                      <a:pt x="111" y="306"/>
                      <a:pt x="114" y="308"/>
                    </a:cubicBezTo>
                    <a:cubicBezTo>
                      <a:pt x="117" y="310"/>
                      <a:pt x="123" y="308"/>
                      <a:pt x="124" y="306"/>
                    </a:cubicBezTo>
                    <a:cubicBezTo>
                      <a:pt x="124" y="304"/>
                      <a:pt x="130" y="301"/>
                      <a:pt x="130" y="301"/>
                    </a:cubicBezTo>
                    <a:cubicBezTo>
                      <a:pt x="134" y="302"/>
                      <a:pt x="134" y="302"/>
                      <a:pt x="134" y="302"/>
                    </a:cubicBezTo>
                    <a:cubicBezTo>
                      <a:pt x="134" y="302"/>
                      <a:pt x="136" y="296"/>
                      <a:pt x="134" y="296"/>
                    </a:cubicBezTo>
                    <a:cubicBezTo>
                      <a:pt x="132" y="296"/>
                      <a:pt x="128" y="293"/>
                      <a:pt x="128" y="293"/>
                    </a:cubicBezTo>
                    <a:cubicBezTo>
                      <a:pt x="127" y="287"/>
                      <a:pt x="127" y="287"/>
                      <a:pt x="127" y="287"/>
                    </a:cubicBezTo>
                    <a:cubicBezTo>
                      <a:pt x="127" y="287"/>
                      <a:pt x="134" y="289"/>
                      <a:pt x="140" y="291"/>
                    </a:cubicBezTo>
                    <a:cubicBezTo>
                      <a:pt x="146" y="293"/>
                      <a:pt x="150" y="298"/>
                      <a:pt x="150" y="298"/>
                    </a:cubicBezTo>
                    <a:cubicBezTo>
                      <a:pt x="162" y="293"/>
                      <a:pt x="162" y="293"/>
                      <a:pt x="162" y="293"/>
                    </a:cubicBezTo>
                    <a:cubicBezTo>
                      <a:pt x="166" y="298"/>
                      <a:pt x="166" y="298"/>
                      <a:pt x="166" y="298"/>
                    </a:cubicBezTo>
                    <a:cubicBezTo>
                      <a:pt x="162" y="303"/>
                      <a:pt x="162" y="303"/>
                      <a:pt x="162" y="303"/>
                    </a:cubicBezTo>
                    <a:cubicBezTo>
                      <a:pt x="162" y="303"/>
                      <a:pt x="165" y="307"/>
                      <a:pt x="166" y="308"/>
                    </a:cubicBezTo>
                    <a:cubicBezTo>
                      <a:pt x="168" y="309"/>
                      <a:pt x="170" y="315"/>
                      <a:pt x="170" y="315"/>
                    </a:cubicBezTo>
                    <a:cubicBezTo>
                      <a:pt x="175" y="313"/>
                      <a:pt x="175" y="313"/>
                      <a:pt x="175" y="313"/>
                    </a:cubicBezTo>
                    <a:cubicBezTo>
                      <a:pt x="176" y="309"/>
                      <a:pt x="176" y="309"/>
                      <a:pt x="176" y="309"/>
                    </a:cubicBezTo>
                    <a:cubicBezTo>
                      <a:pt x="192" y="314"/>
                      <a:pt x="192" y="314"/>
                      <a:pt x="192" y="314"/>
                    </a:cubicBezTo>
                    <a:cubicBezTo>
                      <a:pt x="202" y="317"/>
                      <a:pt x="202" y="317"/>
                      <a:pt x="202" y="317"/>
                    </a:cubicBezTo>
                    <a:cubicBezTo>
                      <a:pt x="205" y="329"/>
                      <a:pt x="205" y="329"/>
                      <a:pt x="205" y="329"/>
                    </a:cubicBezTo>
                    <a:cubicBezTo>
                      <a:pt x="214" y="329"/>
                      <a:pt x="214" y="329"/>
                      <a:pt x="214" y="329"/>
                    </a:cubicBezTo>
                    <a:cubicBezTo>
                      <a:pt x="218" y="340"/>
                      <a:pt x="218" y="340"/>
                      <a:pt x="218" y="340"/>
                    </a:cubicBezTo>
                    <a:cubicBezTo>
                      <a:pt x="221" y="340"/>
                      <a:pt x="221" y="340"/>
                      <a:pt x="221" y="340"/>
                    </a:cubicBezTo>
                    <a:cubicBezTo>
                      <a:pt x="221" y="348"/>
                      <a:pt x="221" y="348"/>
                      <a:pt x="221" y="348"/>
                    </a:cubicBezTo>
                    <a:cubicBezTo>
                      <a:pt x="231" y="346"/>
                      <a:pt x="231" y="346"/>
                      <a:pt x="231" y="346"/>
                    </a:cubicBezTo>
                    <a:cubicBezTo>
                      <a:pt x="234" y="339"/>
                      <a:pt x="234" y="339"/>
                      <a:pt x="234" y="339"/>
                    </a:cubicBezTo>
                    <a:cubicBezTo>
                      <a:pt x="237" y="339"/>
                      <a:pt x="237" y="339"/>
                      <a:pt x="237" y="339"/>
                    </a:cubicBezTo>
                    <a:cubicBezTo>
                      <a:pt x="237" y="339"/>
                      <a:pt x="238" y="333"/>
                      <a:pt x="243" y="333"/>
                    </a:cubicBezTo>
                    <a:cubicBezTo>
                      <a:pt x="247" y="334"/>
                      <a:pt x="248" y="341"/>
                      <a:pt x="248" y="341"/>
                    </a:cubicBezTo>
                    <a:cubicBezTo>
                      <a:pt x="252" y="341"/>
                      <a:pt x="252" y="341"/>
                      <a:pt x="252" y="341"/>
                    </a:cubicBezTo>
                    <a:cubicBezTo>
                      <a:pt x="251" y="344"/>
                      <a:pt x="251" y="344"/>
                      <a:pt x="251" y="344"/>
                    </a:cubicBezTo>
                    <a:cubicBezTo>
                      <a:pt x="257" y="342"/>
                      <a:pt x="257" y="342"/>
                      <a:pt x="257" y="342"/>
                    </a:cubicBezTo>
                    <a:cubicBezTo>
                      <a:pt x="260" y="349"/>
                      <a:pt x="260" y="349"/>
                      <a:pt x="260" y="349"/>
                    </a:cubicBezTo>
                    <a:cubicBezTo>
                      <a:pt x="260" y="349"/>
                      <a:pt x="255" y="356"/>
                      <a:pt x="259" y="356"/>
                    </a:cubicBezTo>
                    <a:cubicBezTo>
                      <a:pt x="261" y="356"/>
                      <a:pt x="265" y="353"/>
                      <a:pt x="265" y="353"/>
                    </a:cubicBezTo>
                    <a:cubicBezTo>
                      <a:pt x="273" y="356"/>
                      <a:pt x="273" y="356"/>
                      <a:pt x="273" y="356"/>
                    </a:cubicBezTo>
                    <a:cubicBezTo>
                      <a:pt x="276" y="346"/>
                      <a:pt x="276" y="346"/>
                      <a:pt x="276" y="346"/>
                    </a:cubicBezTo>
                    <a:cubicBezTo>
                      <a:pt x="276" y="346"/>
                      <a:pt x="281" y="340"/>
                      <a:pt x="288" y="339"/>
                    </a:cubicBezTo>
                    <a:cubicBezTo>
                      <a:pt x="300" y="339"/>
                      <a:pt x="300" y="339"/>
                      <a:pt x="300" y="339"/>
                    </a:cubicBezTo>
                    <a:cubicBezTo>
                      <a:pt x="300" y="339"/>
                      <a:pt x="301" y="345"/>
                      <a:pt x="308" y="344"/>
                    </a:cubicBezTo>
                    <a:cubicBezTo>
                      <a:pt x="313" y="343"/>
                      <a:pt x="314" y="337"/>
                      <a:pt x="314" y="337"/>
                    </a:cubicBezTo>
                    <a:cubicBezTo>
                      <a:pt x="314" y="337"/>
                      <a:pt x="319" y="333"/>
                      <a:pt x="327" y="331"/>
                    </a:cubicBezTo>
                    <a:cubicBezTo>
                      <a:pt x="334" y="330"/>
                      <a:pt x="337" y="331"/>
                      <a:pt x="337" y="331"/>
                    </a:cubicBezTo>
                    <a:cubicBezTo>
                      <a:pt x="343" y="335"/>
                      <a:pt x="343" y="335"/>
                      <a:pt x="343" y="335"/>
                    </a:cubicBezTo>
                    <a:cubicBezTo>
                      <a:pt x="343" y="335"/>
                      <a:pt x="355" y="335"/>
                      <a:pt x="356" y="337"/>
                    </a:cubicBezTo>
                    <a:cubicBezTo>
                      <a:pt x="357" y="339"/>
                      <a:pt x="357" y="344"/>
                      <a:pt x="357" y="344"/>
                    </a:cubicBezTo>
                    <a:cubicBezTo>
                      <a:pt x="381" y="348"/>
                      <a:pt x="381" y="348"/>
                      <a:pt x="381" y="348"/>
                    </a:cubicBezTo>
                    <a:cubicBezTo>
                      <a:pt x="395" y="352"/>
                      <a:pt x="395" y="352"/>
                      <a:pt x="395" y="352"/>
                    </a:cubicBezTo>
                    <a:cubicBezTo>
                      <a:pt x="396" y="346"/>
                      <a:pt x="396" y="346"/>
                      <a:pt x="396" y="346"/>
                    </a:cubicBezTo>
                    <a:cubicBezTo>
                      <a:pt x="396" y="346"/>
                      <a:pt x="388" y="344"/>
                      <a:pt x="386" y="341"/>
                    </a:cubicBezTo>
                    <a:cubicBezTo>
                      <a:pt x="385" y="338"/>
                      <a:pt x="386" y="335"/>
                      <a:pt x="385" y="330"/>
                    </a:cubicBezTo>
                    <a:cubicBezTo>
                      <a:pt x="385" y="325"/>
                      <a:pt x="379" y="318"/>
                      <a:pt x="379" y="318"/>
                    </a:cubicBezTo>
                    <a:cubicBezTo>
                      <a:pt x="379" y="318"/>
                      <a:pt x="389" y="308"/>
                      <a:pt x="392" y="301"/>
                    </a:cubicBezTo>
                    <a:cubicBezTo>
                      <a:pt x="396" y="294"/>
                      <a:pt x="397" y="283"/>
                      <a:pt x="400" y="279"/>
                    </a:cubicBezTo>
                    <a:cubicBezTo>
                      <a:pt x="404" y="276"/>
                      <a:pt x="414" y="258"/>
                      <a:pt x="414" y="258"/>
                    </a:cubicBezTo>
                    <a:cubicBezTo>
                      <a:pt x="414" y="258"/>
                      <a:pt x="425" y="261"/>
                      <a:pt x="428" y="254"/>
                    </a:cubicBezTo>
                    <a:cubicBezTo>
                      <a:pt x="431" y="246"/>
                      <a:pt x="431" y="238"/>
                      <a:pt x="428" y="235"/>
                    </a:cubicBezTo>
                    <a:cubicBezTo>
                      <a:pt x="425" y="234"/>
                      <a:pt x="421" y="233"/>
                      <a:pt x="422" y="231"/>
                    </a:cubicBezTo>
                    <a:close/>
                  </a:path>
                </a:pathLst>
              </a:custGeom>
              <a:grpFill/>
              <a:ln w="317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GB"/>
              </a:p>
            </p:txBody>
          </p:sp>
        </p:grpSp>
        <p:sp>
          <p:nvSpPr>
            <p:cNvPr id="112" name="Auf der gleichen Seite des Rechtecks liegende Ecken abrunden 111"/>
            <p:cNvSpPr/>
            <p:nvPr/>
          </p:nvSpPr>
          <p:spPr>
            <a:xfrm>
              <a:off x="244949" y="1285402"/>
              <a:ext cx="2808000" cy="648000"/>
            </a:xfrm>
            <a:prstGeom prst="round2SameRect">
              <a:avLst>
                <a:gd name="adj1" fmla="val 25490"/>
                <a:gd name="adj2" fmla="val 0"/>
              </a:avLst>
            </a:prstGeom>
            <a:solidFill>
              <a:srgbClr val="000000">
                <a:alpha val="50196"/>
              </a:srgbClr>
            </a:solidFill>
          </p:spPr>
          <p:txBody>
            <a:bodyPr wrap="square" lIns="72000" tIns="36000" rIns="72000" bIns="36000" anchor="ctr">
              <a:noAutofit/>
            </a:bodyPr>
            <a:lstStyle/>
            <a:p>
              <a:pPr lvl="0"/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...</a:t>
              </a:r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Európa</a:t>
              </a: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 </a:t>
              </a:r>
              <a:b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</a:br>
              <a:r>
                <a:rPr lang="de-DE" sz="1800" dirty="0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25 </a:t>
              </a:r>
              <a:r>
                <a:rPr lang="de-DE" sz="1800" dirty="0" err="1" smtClean="0">
                  <a:solidFill>
                    <a:schemeClr val="bg1"/>
                  </a:solidFill>
                  <a:latin typeface="Franklin Gothic Medium" panose="020B0603020102020204" pitchFamily="34" charset="0"/>
                </a:rPr>
                <a:t>országában</a:t>
              </a:r>
              <a:endParaRPr lang="de-DE" sz="1800" dirty="0">
                <a:solidFill>
                  <a:schemeClr val="bg1"/>
                </a:solidFill>
                <a:latin typeface="Franklin Gothic Medium" panose="020B0603020102020204" pitchFamily="34" charset="0"/>
              </a:endParaRPr>
            </a:p>
          </p:txBody>
        </p:sp>
      </p:grpSp>
      <p:pic>
        <p:nvPicPr>
          <p:cNvPr id="61" name="Grafik 60"/>
          <p:cNvPicPr>
            <a:picLocks noChangeAspect="1"/>
          </p:cNvPicPr>
          <p:nvPr/>
        </p:nvPicPr>
        <p:blipFill rotWithShape="1">
          <a:blip r:embed="rId14"/>
          <a:srcRect l="23540" t="308" r="211" b="-308"/>
          <a:stretch/>
        </p:blipFill>
        <p:spPr>
          <a:xfrm>
            <a:off x="3216061" y="1884351"/>
            <a:ext cx="2718704" cy="1900331"/>
          </a:xfrm>
          <a:prstGeom prst="ellipse">
            <a:avLst/>
          </a:prstGeom>
          <a:ln>
            <a:noFill/>
          </a:ln>
          <a:effectLst>
            <a:softEdge rad="127000"/>
          </a:effectLst>
        </p:spPr>
      </p:pic>
    </p:spTree>
    <p:extLst>
      <p:ext uri="{BB962C8B-B14F-4D97-AF65-F5344CB8AC3E}">
        <p14:creationId xmlns:p14="http://schemas.microsoft.com/office/powerpoint/2010/main" val="224478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DÍJKEDVEZMÉNYEK</a:t>
            </a:r>
            <a:endParaRPr lang="hu-HU" sz="2400" dirty="0">
              <a:solidFill>
                <a:srgbClr val="000099"/>
              </a:solidFill>
            </a:endParaRPr>
          </a:p>
        </p:txBody>
      </p:sp>
      <p:graphicFrame>
        <p:nvGraphicFramePr>
          <p:cNvPr id="6" name="Tartalom helye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98569917"/>
              </p:ext>
            </p:extLst>
          </p:nvPr>
        </p:nvGraphicFramePr>
        <p:xfrm>
          <a:off x="179388" y="1268413"/>
          <a:ext cx="8785225" cy="51847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6962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TOVÁBBI TERMÉKEK</a:t>
            </a:r>
            <a:endParaRPr lang="hu-HU" sz="2400" dirty="0">
              <a:solidFill>
                <a:srgbClr val="000099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nállóan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thető és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ifálóval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rendelkező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éb kkv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gyonbiztosítási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ékek:</a:t>
            </a:r>
          </a:p>
          <a:p>
            <a:pPr lvl="1"/>
            <a:endParaRPr lang="hu-HU" sz="2000" dirty="0" smtClean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1"/>
            <a:r>
              <a:rPr lang="hu-HU" sz="2000" b="1" dirty="0" smtClean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épbiztosítások</a:t>
            </a:r>
          </a:p>
          <a:p>
            <a:pPr marL="914400" lvl="2" indent="0"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ELBER, Géptörés, 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sks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Gépbiztosítás) </a:t>
            </a:r>
          </a:p>
          <a:p>
            <a:pPr lvl="2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éplista szükséges,</a:t>
            </a:r>
          </a:p>
          <a:p>
            <a:pPr lvl="2"/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zközök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x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kora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 év /az ajánlat felvétel időpontjában/</a:t>
            </a:r>
          </a:p>
          <a:p>
            <a:pPr marL="914400" lvl="2" indent="0">
              <a:buNone/>
            </a:pP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1"/>
            <a:r>
              <a:rPr lang="hu-HU" sz="2000" b="1" dirty="0" smtClean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lelősségbiztosítások</a:t>
            </a:r>
            <a:endParaRPr lang="hu-HU" sz="2000" b="1" dirty="0">
              <a:solidFill>
                <a:srgbClr val="FF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2697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ÖNÁLLÓ FELELŐSSÉGBIZTOSÍTÁS</a:t>
            </a:r>
            <a:endParaRPr lang="hu-HU" sz="2400" dirty="0">
              <a:solidFill>
                <a:srgbClr val="000099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nállóan köthető és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ifálóval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rendelkező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éb kkv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lelősségbiztosítási termék:</a:t>
            </a:r>
          </a:p>
          <a:p>
            <a:pPr lvl="1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tosítható kockázatok:</a:t>
            </a:r>
          </a:p>
          <a:p>
            <a:pPr lvl="2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talános felelősség</a:t>
            </a:r>
          </a:p>
          <a:p>
            <a:pPr lvl="2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ói felelősség (kiterjesztés: szolgáltatás tárgya; rakodás)</a:t>
            </a:r>
          </a:p>
          <a:p>
            <a:pPr lvl="2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ékfelelősség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erjesztett termékfelelősség</a:t>
            </a:r>
          </a:p>
          <a:p>
            <a:pPr lvl="2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gatlan-bérlői és/vagy ingatlan-bérbeadói felelősség</a:t>
            </a:r>
          </a:p>
          <a:p>
            <a:pPr lvl="2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káltatói felelősség</a:t>
            </a:r>
          </a:p>
          <a:p>
            <a:pPr lvl="2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rnyezetszennyezési felelősség</a:t>
            </a:r>
          </a:p>
          <a:p>
            <a:pPr lvl="2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vállalkozói fedezet</a:t>
            </a:r>
          </a:p>
          <a:p>
            <a:pPr lvl="2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ületi hatály kiterjesztése Európára</a:t>
            </a:r>
          </a:p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edi záradék és önrész automatikusan aktiválódik építőipari tevékenységek esetén.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hu-HU" sz="24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868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>
                <a:solidFill>
                  <a:srgbClr val="000099"/>
                </a:solidFill>
              </a:rPr>
              <a:t>KIEGÉSZÍTŐ BIZTOSÍTÁSOK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oportos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emélybiztosítások: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csoportos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t-, baleset- és egészségbiztosítások önállóan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thetők,</a:t>
            </a:r>
          </a:p>
          <a:p>
            <a:pPr marL="914400" lvl="2" indent="0"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 a BC mellé rövidesen ajánlható lesz kedvezményes csoportos balesetbiztosítás, ami tanulókra és közfoglalkoztatottakra is vonatkozha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egészítő szállítmánybiztosítás:</a:t>
            </a:r>
            <a:b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C-ben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tra/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somagok 1 M Ft limittel tartalmazzák:</a:t>
            </a:r>
            <a:b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Magyarország határain belül </a:t>
            </a:r>
            <a:r>
              <a:rPr lang="hu-HU" sz="2000" u="sng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rukban és készletekben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eletkezett 	tűz, robbanás, villámcsapás, légi jármű lezuhanása, vihar, 	felhőszakadás, jégverés, 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ónyomás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földrengés, szállító 	gépjárművet ért baleset károk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372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512" y="260648"/>
            <a:ext cx="6511925" cy="615950"/>
          </a:xfrm>
        </p:spPr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BIZTOSÍTÓI ELŐNYÖK, KIZÁRÁSOK</a:t>
            </a:r>
            <a:endParaRPr lang="hu-HU" sz="2400" dirty="0">
              <a:solidFill>
                <a:srgbClr val="000099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éles körű fedezeti körök az alaptól az </a:t>
            </a:r>
            <a:r>
              <a:rPr lang="hu-HU" sz="24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4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sig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4 csomag + sok választható kiegészítő)</a:t>
            </a:r>
          </a:p>
          <a:p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 </a:t>
            </a:r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ükséges az ügyfeleknek 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ártérítési </a:t>
            </a:r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en osztozni  katasztrófa esetén</a:t>
            </a:r>
          </a:p>
          <a:p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yszerű</a:t>
            </a:r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ugyanakkor komplex megoldás, rugalmas hozzáállás (</a:t>
            </a:r>
            <a:r>
              <a:rPr lang="hu-HU" sz="24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ifális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l. egyedi ajánlatadás lehetséges ugyanarra az esetre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enyképes megoldásunk van </a:t>
            </a:r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den, a tevékenységi listában szereplő iparágra, 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ra (BC és felelősségi </a:t>
            </a:r>
            <a:r>
              <a:rPr lang="hu-HU" sz="24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ifálás</a:t>
            </a:r>
            <a:r>
              <a:rPr lang="hu-HU" sz="24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4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tén) ill. ezeken kívül mindenkori vállalási politikánk keretein belül</a:t>
            </a:r>
            <a:endParaRPr lang="hu-HU" sz="24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223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VAGYONBIZTOSÍTÁSI ÜGYFÉL CÉLCSOPORTOK</a:t>
            </a:r>
            <a:endParaRPr lang="hu-HU" sz="2400" dirty="0">
              <a:solidFill>
                <a:srgbClr val="000099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llamigazgatás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oktatási intézmények</a:t>
            </a:r>
          </a:p>
          <a:p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Ásványvíz és üdítőital gyártás</a:t>
            </a:r>
          </a:p>
          <a:p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házi intézmények</a:t>
            </a:r>
          </a:p>
          <a:p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lmiszeripari gyártás (kivéve malmok)</a:t>
            </a:r>
          </a:p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pítőanyag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par: beton, gipsz- és kő termékek gyártása</a:t>
            </a:r>
          </a:p>
          <a:p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Ü intézmények</a:t>
            </a:r>
          </a:p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p-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fémszerkezet gyártás (olaj-, gáz-, vegyipar NEM!)</a:t>
            </a:r>
          </a:p>
          <a:p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odaházak (épület, ingatlan üzemeltetés, forgalmazás)</a:t>
            </a:r>
          </a:p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űanyag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ékek gyártása</a:t>
            </a:r>
          </a:p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zletházak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per-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zuper- és egyéb marketek stb.)</a:t>
            </a:r>
          </a:p>
          <a:p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églátás: hotelek, panziók, fürdők (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7650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DOKUMENTÁCIÓ, AJÁNLATADÁS</a:t>
            </a:r>
            <a:endParaRPr lang="hu-HU" sz="2400" dirty="0">
              <a:solidFill>
                <a:srgbClr val="000099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ifálóink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sználatával leegyszerűsödnek az ajánlatadási folyamatok (azonnali ajánlatadási lehetőség az ügyfél  felé)</a:t>
            </a:r>
          </a:p>
          <a:p>
            <a:pPr marL="457200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incs kérdőív termékfelelősségnél sem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b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tvényszám generálás:</a:t>
            </a:r>
            <a:b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zponti nyilvántartó rendszerben történő rögzítéskor automatikusan képződik</a:t>
            </a:r>
            <a:b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dezetigazolás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j szerződés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tén:</a:t>
            </a:r>
            <a:b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bátlan és hiánytalan ajánlat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tén 24 óra, sürgős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etben soron kívül kiállítva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041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smtClean="0">
                <a:solidFill>
                  <a:srgbClr val="000099"/>
                </a:solidFill>
              </a:rPr>
              <a:t>TECHNIKAI INFORMÁCIÓK</a:t>
            </a:r>
            <a:endParaRPr lang="hu-HU" sz="2400" dirty="0" smtClean="0">
              <a:solidFill>
                <a:srgbClr val="000099"/>
              </a:solidFill>
            </a:endParaRPr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 marL="0" indent="0">
              <a:lnSpc>
                <a:spcPct val="100000"/>
              </a:lnSpc>
              <a:buNone/>
              <a:defRPr/>
            </a:pPr>
            <a:r>
              <a:rPr lang="hu-HU" sz="2000" dirty="0" smtClean="0">
                <a:solidFill>
                  <a:srgbClr val="000099"/>
                </a:solidFill>
              </a:rPr>
              <a:t>Minimális éves díjak:</a:t>
            </a:r>
          </a:p>
          <a:p>
            <a:pPr marL="0" indent="0">
              <a:lnSpc>
                <a:spcPct val="100000"/>
              </a:lnSpc>
              <a:buNone/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 lvl="1">
              <a:lnSpc>
                <a:spcPct val="100000"/>
              </a:lnSpc>
              <a:buSzPct val="125000"/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rgbClr val="000099"/>
                </a:solidFill>
              </a:rPr>
              <a:t>BC			15 000 Ft</a:t>
            </a:r>
          </a:p>
          <a:p>
            <a:pPr lvl="1">
              <a:lnSpc>
                <a:spcPct val="100000"/>
              </a:lnSpc>
              <a:buSzPct val="125000"/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rgbClr val="000099"/>
                </a:solidFill>
              </a:rPr>
              <a:t>ELBER 			25 000 Ft</a:t>
            </a:r>
          </a:p>
          <a:p>
            <a:pPr lvl="1">
              <a:lnSpc>
                <a:spcPct val="100000"/>
              </a:lnSpc>
              <a:buSzPct val="125000"/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rgbClr val="000099"/>
                </a:solidFill>
              </a:rPr>
              <a:t>Géptörés 		30 000 Ft</a:t>
            </a:r>
          </a:p>
          <a:p>
            <a:pPr lvl="1">
              <a:lnSpc>
                <a:spcPct val="100000"/>
              </a:lnSpc>
              <a:buSzPct val="125000"/>
              <a:buFont typeface="Arial" panose="020B0604020202020204" pitchFamily="34" charset="0"/>
              <a:buChar char="•"/>
              <a:defRPr/>
            </a:pPr>
            <a:r>
              <a:rPr lang="hu-HU" sz="2000" dirty="0" err="1" smtClean="0">
                <a:solidFill>
                  <a:srgbClr val="000099"/>
                </a:solidFill>
              </a:rPr>
              <a:t>All</a:t>
            </a:r>
            <a:r>
              <a:rPr lang="hu-HU" sz="2000" dirty="0" smtClean="0">
                <a:solidFill>
                  <a:srgbClr val="000099"/>
                </a:solidFill>
              </a:rPr>
              <a:t> </a:t>
            </a:r>
            <a:r>
              <a:rPr lang="hu-HU" sz="2000" dirty="0" err="1" smtClean="0">
                <a:solidFill>
                  <a:srgbClr val="000099"/>
                </a:solidFill>
              </a:rPr>
              <a:t>Risks</a:t>
            </a:r>
            <a:r>
              <a:rPr lang="hu-HU" sz="2000" dirty="0" smtClean="0">
                <a:solidFill>
                  <a:srgbClr val="000099"/>
                </a:solidFill>
              </a:rPr>
              <a:t> géptörés	40 000 Ft</a:t>
            </a:r>
          </a:p>
          <a:p>
            <a:pPr lvl="1">
              <a:lnSpc>
                <a:spcPct val="100000"/>
              </a:lnSpc>
              <a:buSzPct val="125000"/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rgbClr val="000099"/>
                </a:solidFill>
              </a:rPr>
              <a:t>Egyedi vagyon		40 000 Ft</a:t>
            </a:r>
          </a:p>
          <a:p>
            <a:pPr lvl="1">
              <a:lnSpc>
                <a:spcPct val="100000"/>
              </a:lnSpc>
              <a:buSzPct val="125000"/>
              <a:buFont typeface="Arial" panose="020B0604020202020204" pitchFamily="34" charset="0"/>
              <a:buChar char="•"/>
              <a:defRPr/>
            </a:pPr>
            <a:r>
              <a:rPr lang="hu-HU" sz="2000" dirty="0" smtClean="0">
                <a:solidFill>
                  <a:srgbClr val="000099"/>
                </a:solidFill>
              </a:rPr>
              <a:t>Felelősség		12 000 Ft</a:t>
            </a:r>
          </a:p>
          <a:p>
            <a:pPr marL="0" indent="0">
              <a:lnSpc>
                <a:spcPct val="100000"/>
              </a:lnSpc>
              <a:buNone/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>
              <a:defRPr/>
            </a:pPr>
            <a:endParaRPr lang="hu-HU" sz="2400" dirty="0" smtClean="0">
              <a:solidFill>
                <a:srgbClr val="000099"/>
              </a:solidFill>
            </a:endParaRPr>
          </a:p>
          <a:p>
            <a:pPr>
              <a:lnSpc>
                <a:spcPct val="105000"/>
              </a:lnSpc>
              <a:defRPr/>
            </a:pPr>
            <a:endParaRPr lang="hu-HU" sz="2400" dirty="0" smtClean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91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KKV TEAM 2017 JANUÁRTÓL</a:t>
            </a:r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None/>
              <a:defRPr/>
            </a:pPr>
            <a:r>
              <a:rPr lang="hu-HU" sz="2000" dirty="0" smtClean="0">
                <a:solidFill>
                  <a:srgbClr val="000099"/>
                </a:solidFill>
              </a:rPr>
              <a:t>kkv kockázatvállalás 6 fő (ebből 2 fő </a:t>
            </a:r>
            <a:r>
              <a:rPr lang="hu-HU" sz="2000" dirty="0" err="1" smtClean="0">
                <a:solidFill>
                  <a:srgbClr val="000099"/>
                </a:solidFill>
              </a:rPr>
              <a:t>tarifális</a:t>
            </a:r>
            <a:r>
              <a:rPr lang="hu-HU" sz="2000" dirty="0" smtClean="0">
                <a:solidFill>
                  <a:srgbClr val="000099"/>
                </a:solidFill>
              </a:rPr>
              <a:t> vállaló az Alkusz </a:t>
            </a:r>
            <a:r>
              <a:rPr lang="hu-HU" sz="2000" dirty="0" err="1" smtClean="0">
                <a:solidFill>
                  <a:srgbClr val="000099"/>
                </a:solidFill>
              </a:rPr>
              <a:t>Ig.</a:t>
            </a:r>
            <a:r>
              <a:rPr lang="hu-HU" sz="2000" dirty="0" err="1">
                <a:solidFill>
                  <a:srgbClr val="000099"/>
                </a:solidFill>
              </a:rPr>
              <a:t>-</a:t>
            </a:r>
            <a:r>
              <a:rPr lang="hu-HU" sz="2000" dirty="0" err="1" smtClean="0">
                <a:solidFill>
                  <a:srgbClr val="000099"/>
                </a:solidFill>
              </a:rPr>
              <a:t>on</a:t>
            </a:r>
            <a:r>
              <a:rPr lang="hu-HU" sz="2000" dirty="0" smtClean="0">
                <a:solidFill>
                  <a:srgbClr val="000099"/>
                </a:solidFill>
              </a:rPr>
              <a:t>):</a:t>
            </a:r>
          </a:p>
          <a:p>
            <a:pPr>
              <a:lnSpc>
                <a:spcPct val="100000"/>
              </a:lnSpc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>
              <a:lnSpc>
                <a:spcPct val="100000"/>
              </a:lnSpc>
              <a:defRPr/>
            </a:pPr>
            <a:endParaRPr lang="hu-HU" sz="2000" dirty="0">
              <a:solidFill>
                <a:srgbClr val="000099"/>
              </a:solidFill>
            </a:endParaRPr>
          </a:p>
          <a:p>
            <a:pPr>
              <a:lnSpc>
                <a:spcPct val="100000"/>
              </a:lnSpc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>
              <a:lnSpc>
                <a:spcPct val="100000"/>
              </a:lnSpc>
              <a:defRPr/>
            </a:pPr>
            <a:endParaRPr lang="hu-HU" sz="2000" dirty="0">
              <a:solidFill>
                <a:srgbClr val="000099"/>
              </a:solidFill>
            </a:endParaRPr>
          </a:p>
          <a:p>
            <a:pPr>
              <a:lnSpc>
                <a:spcPct val="100000"/>
              </a:lnSpc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>
              <a:lnSpc>
                <a:spcPct val="100000"/>
              </a:lnSpc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>
              <a:lnSpc>
                <a:spcPct val="100000"/>
              </a:lnSpc>
              <a:defRPr/>
            </a:pPr>
            <a:endParaRPr lang="hu-HU" sz="2000" dirty="0">
              <a:solidFill>
                <a:srgbClr val="000099"/>
              </a:solidFill>
            </a:endParaRPr>
          </a:p>
          <a:p>
            <a:pPr>
              <a:lnSpc>
                <a:spcPct val="100000"/>
              </a:lnSpc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 marL="0" indent="0">
              <a:lnSpc>
                <a:spcPct val="100000"/>
              </a:lnSpc>
              <a:buNone/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 marL="0" indent="0">
              <a:lnSpc>
                <a:spcPct val="100000"/>
              </a:lnSpc>
              <a:buNone/>
              <a:defRPr/>
            </a:pPr>
            <a:endParaRPr lang="hu-HU" sz="2000" dirty="0" smtClean="0">
              <a:solidFill>
                <a:srgbClr val="000099"/>
              </a:solidFill>
            </a:endParaRPr>
          </a:p>
          <a:p>
            <a:pPr>
              <a:defRPr/>
            </a:pPr>
            <a:endParaRPr lang="hu-HU" sz="2400" dirty="0" smtClean="0">
              <a:solidFill>
                <a:srgbClr val="000099"/>
              </a:solidFill>
            </a:endParaRPr>
          </a:p>
          <a:p>
            <a:pPr>
              <a:lnSpc>
                <a:spcPct val="105000"/>
              </a:lnSpc>
              <a:defRPr/>
            </a:pPr>
            <a:endParaRPr lang="hu-HU" sz="2400" dirty="0" smtClean="0">
              <a:solidFill>
                <a:srgbClr val="000099"/>
              </a:solidFill>
            </a:endParaRPr>
          </a:p>
        </p:txBody>
      </p:sp>
      <p:pic>
        <p:nvPicPr>
          <p:cNvPr id="10" name="Kép 9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12" t="16345" r="5649" b="22041"/>
          <a:stretch/>
        </p:blipFill>
        <p:spPr>
          <a:xfrm rot="5400000">
            <a:off x="849839" y="4467283"/>
            <a:ext cx="1669605" cy="11772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Kép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84" t="10832" r="28904" b="33644"/>
          <a:stretch/>
        </p:blipFill>
        <p:spPr>
          <a:xfrm>
            <a:off x="3059832" y="4221088"/>
            <a:ext cx="1231233" cy="16719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Kép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27" t="10912" r="2061"/>
          <a:stretch/>
        </p:blipFill>
        <p:spPr>
          <a:xfrm>
            <a:off x="5084077" y="4221088"/>
            <a:ext cx="1152987" cy="16719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Kép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3" r="13409" b="18576"/>
          <a:stretch/>
        </p:blipFill>
        <p:spPr>
          <a:xfrm>
            <a:off x="7020272" y="4221088"/>
            <a:ext cx="1153647" cy="16719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Kép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61" r="29346" b="29879"/>
          <a:stretch/>
        </p:blipFill>
        <p:spPr>
          <a:xfrm>
            <a:off x="2605387" y="1772816"/>
            <a:ext cx="1357303" cy="16719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Kép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138" t="6603" r="22916"/>
          <a:stretch/>
        </p:blipFill>
        <p:spPr>
          <a:xfrm>
            <a:off x="5391990" y="1771623"/>
            <a:ext cx="1168332" cy="167437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Szövegdoboz 16"/>
          <p:cNvSpPr txBox="1"/>
          <p:nvPr/>
        </p:nvSpPr>
        <p:spPr>
          <a:xfrm>
            <a:off x="2311930" y="3445996"/>
            <a:ext cx="194421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 smtClean="0"/>
              <a:t>Árokszállási Zoltán</a:t>
            </a:r>
          </a:p>
          <a:p>
            <a:pPr algn="ctr"/>
            <a:r>
              <a:rPr lang="hu-HU" sz="1100" dirty="0" smtClean="0"/>
              <a:t>értékesítési </a:t>
            </a:r>
            <a:r>
              <a:rPr lang="hu-HU" sz="1100" dirty="0"/>
              <a:t>menedzser</a:t>
            </a:r>
            <a:endParaRPr lang="hu-HU" sz="1100" dirty="0" smtClean="0"/>
          </a:p>
          <a:p>
            <a:pPr algn="ctr"/>
            <a:r>
              <a:rPr lang="hu-HU" sz="1100" dirty="0"/>
              <a:t>+36 </a:t>
            </a:r>
            <a:r>
              <a:rPr lang="hu-HU" sz="1100" dirty="0" smtClean="0"/>
              <a:t>(70) 332 7336</a:t>
            </a:r>
          </a:p>
        </p:txBody>
      </p:sp>
      <p:sp>
        <p:nvSpPr>
          <p:cNvPr id="18" name="Szövegdoboz 17"/>
          <p:cNvSpPr txBox="1"/>
          <p:nvPr/>
        </p:nvSpPr>
        <p:spPr>
          <a:xfrm>
            <a:off x="5004048" y="3455143"/>
            <a:ext cx="194421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 smtClean="0"/>
              <a:t>Utry Oszkár</a:t>
            </a:r>
          </a:p>
          <a:p>
            <a:pPr algn="ctr"/>
            <a:r>
              <a:rPr lang="hu-HU" sz="1100" dirty="0" smtClean="0"/>
              <a:t>értékesítési </a:t>
            </a:r>
            <a:r>
              <a:rPr lang="hu-HU" sz="1100" dirty="0"/>
              <a:t>menedzser</a:t>
            </a:r>
          </a:p>
          <a:p>
            <a:pPr algn="ctr"/>
            <a:r>
              <a:rPr lang="hu-HU" sz="1100" dirty="0" smtClean="0"/>
              <a:t>+</a:t>
            </a:r>
            <a:r>
              <a:rPr lang="hu-HU" sz="1100" dirty="0"/>
              <a:t>36 (70) </a:t>
            </a:r>
            <a:r>
              <a:rPr lang="hu-HU" sz="1100" dirty="0" smtClean="0"/>
              <a:t>332 7317</a:t>
            </a:r>
          </a:p>
        </p:txBody>
      </p:sp>
      <p:sp>
        <p:nvSpPr>
          <p:cNvPr id="19" name="Szövegdoboz 18"/>
          <p:cNvSpPr txBox="1"/>
          <p:nvPr/>
        </p:nvSpPr>
        <p:spPr>
          <a:xfrm>
            <a:off x="596626" y="5890693"/>
            <a:ext cx="217603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 smtClean="0"/>
              <a:t>Klinger József</a:t>
            </a:r>
          </a:p>
          <a:p>
            <a:pPr algn="ctr"/>
            <a:r>
              <a:rPr lang="hu-HU" sz="1100" dirty="0" smtClean="0"/>
              <a:t>kkv </a:t>
            </a:r>
            <a:r>
              <a:rPr lang="hu-HU" sz="1100" dirty="0"/>
              <a:t>vezető kockázatvállaló</a:t>
            </a:r>
            <a:endParaRPr lang="hu-HU" sz="1100" dirty="0" smtClean="0"/>
          </a:p>
          <a:p>
            <a:pPr algn="ctr"/>
            <a:r>
              <a:rPr lang="hu-HU" sz="1100" dirty="0"/>
              <a:t>+36 </a:t>
            </a:r>
            <a:r>
              <a:rPr lang="hu-HU" sz="1100" dirty="0" smtClean="0"/>
              <a:t>(70) 375 2612</a:t>
            </a:r>
          </a:p>
        </p:txBody>
      </p:sp>
      <p:sp>
        <p:nvSpPr>
          <p:cNvPr id="20" name="Szövegdoboz 19"/>
          <p:cNvSpPr txBox="1"/>
          <p:nvPr/>
        </p:nvSpPr>
        <p:spPr>
          <a:xfrm>
            <a:off x="2703340" y="5918705"/>
            <a:ext cx="194421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 smtClean="0"/>
              <a:t>Hajdók Viktória</a:t>
            </a:r>
          </a:p>
          <a:p>
            <a:pPr algn="ctr"/>
            <a:r>
              <a:rPr lang="hu-HU" sz="1100" dirty="0"/>
              <a:t>k</a:t>
            </a:r>
            <a:r>
              <a:rPr lang="hu-HU" sz="1100" dirty="0" smtClean="0"/>
              <a:t>kv kockázatvállaló</a:t>
            </a:r>
          </a:p>
          <a:p>
            <a:pPr algn="ctr"/>
            <a:r>
              <a:rPr lang="hu-HU" sz="1100" dirty="0"/>
              <a:t>+36 (70) </a:t>
            </a:r>
            <a:r>
              <a:rPr lang="hu-HU" sz="1100" dirty="0" smtClean="0"/>
              <a:t>469 9327</a:t>
            </a:r>
          </a:p>
        </p:txBody>
      </p:sp>
      <p:sp>
        <p:nvSpPr>
          <p:cNvPr id="21" name="Szövegdoboz 20"/>
          <p:cNvSpPr txBox="1"/>
          <p:nvPr/>
        </p:nvSpPr>
        <p:spPr>
          <a:xfrm>
            <a:off x="4688462" y="5887274"/>
            <a:ext cx="194421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 smtClean="0"/>
              <a:t>Csanádi Zoltán</a:t>
            </a:r>
          </a:p>
          <a:p>
            <a:pPr algn="ctr"/>
            <a:r>
              <a:rPr lang="hu-HU" sz="1100" dirty="0" smtClean="0"/>
              <a:t>kkv </a:t>
            </a:r>
            <a:r>
              <a:rPr lang="hu-HU" sz="1100" dirty="0"/>
              <a:t>kockázatvállaló</a:t>
            </a:r>
            <a:endParaRPr lang="hu-HU" sz="1100" dirty="0" smtClean="0"/>
          </a:p>
          <a:p>
            <a:pPr algn="ctr"/>
            <a:r>
              <a:rPr lang="hu-HU" sz="1100" dirty="0"/>
              <a:t>+36 </a:t>
            </a:r>
            <a:r>
              <a:rPr lang="hu-HU" sz="1100" dirty="0" smtClean="0"/>
              <a:t>(70) 375 2601</a:t>
            </a:r>
          </a:p>
        </p:txBody>
      </p:sp>
      <p:sp>
        <p:nvSpPr>
          <p:cNvPr id="22" name="Szövegdoboz 21"/>
          <p:cNvSpPr txBox="1"/>
          <p:nvPr/>
        </p:nvSpPr>
        <p:spPr>
          <a:xfrm>
            <a:off x="6633675" y="5916004"/>
            <a:ext cx="194421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 smtClean="0"/>
              <a:t>Dobi László</a:t>
            </a:r>
          </a:p>
          <a:p>
            <a:pPr algn="ctr"/>
            <a:r>
              <a:rPr lang="hu-HU" sz="1100" dirty="0" smtClean="0"/>
              <a:t>kkv kockázatvállaló</a:t>
            </a:r>
          </a:p>
          <a:p>
            <a:pPr algn="ctr"/>
            <a:r>
              <a:rPr lang="hu-HU" sz="1100" dirty="0"/>
              <a:t>+36 </a:t>
            </a:r>
            <a:r>
              <a:rPr lang="hu-HU" sz="1100" dirty="0" smtClean="0"/>
              <a:t>(70) 332 7371</a:t>
            </a:r>
          </a:p>
        </p:txBody>
      </p:sp>
    </p:spTree>
    <p:extLst>
      <p:ext uri="{BB962C8B-B14F-4D97-AF65-F5344CB8AC3E}">
        <p14:creationId xmlns:p14="http://schemas.microsoft.com/office/powerpoint/2010/main" val="269824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55576" y="2574032"/>
            <a:ext cx="7467600" cy="1143000"/>
          </a:xfrm>
        </p:spPr>
        <p:txBody>
          <a:bodyPr/>
          <a:lstStyle/>
          <a:p>
            <a:pPr algn="ctr"/>
            <a:r>
              <a:rPr lang="hu-HU" sz="4000" b="0" dirty="0" smtClean="0">
                <a:solidFill>
                  <a:srgbClr val="000099"/>
                </a:solidFill>
              </a:rPr>
              <a:t>Köszönjük a figyelmet!</a:t>
            </a:r>
          </a:p>
        </p:txBody>
      </p:sp>
    </p:spTree>
    <p:extLst>
      <p:ext uri="{BB962C8B-B14F-4D97-AF65-F5344CB8AC3E}">
        <p14:creationId xmlns:p14="http://schemas.microsoft.com/office/powerpoint/2010/main" val="3991959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51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Kép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904" y="1697437"/>
            <a:ext cx="5353798" cy="4382112"/>
          </a:xfrm>
          <a:prstGeom prst="rect">
            <a:avLst/>
          </a:prstGeom>
        </p:spPr>
      </p:pic>
      <p:graphicFrame>
        <p:nvGraphicFramePr>
          <p:cNvPr id="16" name="Objek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85883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2" name="think-cell Folie" r:id="rId6" imgW="351" imgH="351" progId="TCLayout.ActiveDocument.1">
                  <p:embed/>
                </p:oleObj>
              </mc:Choice>
              <mc:Fallback>
                <p:oleObj name="think-cell Folie" r:id="rId6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85883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6550" y="188640"/>
            <a:ext cx="7175706" cy="794134"/>
          </a:xfrm>
        </p:spPr>
        <p:txBody>
          <a:bodyPr>
            <a:normAutofit/>
          </a:bodyPr>
          <a:lstStyle/>
          <a:p>
            <a:r>
              <a:rPr lang="hu-HU" sz="2400" dirty="0" smtClean="0">
                <a:solidFill>
                  <a:srgbClr val="000099"/>
                </a:solidFill>
              </a:rPr>
              <a:t>A</a:t>
            </a:r>
            <a:r>
              <a:rPr lang="de-DE" sz="2400" dirty="0" smtClean="0">
                <a:solidFill>
                  <a:srgbClr val="000099"/>
                </a:solidFill>
              </a:rPr>
              <a:t>USZTRIA ÉS KÖZÉP-</a:t>
            </a:r>
            <a:r>
              <a:rPr lang="hu-HU" sz="2400" dirty="0" smtClean="0">
                <a:solidFill>
                  <a:srgbClr val="000099"/>
                </a:solidFill>
              </a:rPr>
              <a:t> ÉS </a:t>
            </a:r>
            <a:r>
              <a:rPr lang="de-DE" sz="2400" dirty="0" smtClean="0">
                <a:solidFill>
                  <a:srgbClr val="000099"/>
                </a:solidFill>
              </a:rPr>
              <a:t>KELET EURÓPA VEZETŐ BIZTOSÍTÓJA VAGYUNK</a:t>
            </a:r>
            <a:endParaRPr lang="de-DE" sz="2400" dirty="0">
              <a:solidFill>
                <a:srgbClr val="000099"/>
              </a:solidFill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240611" y="980728"/>
            <a:ext cx="8242241" cy="239068"/>
          </a:xfrm>
        </p:spPr>
        <p:txBody>
          <a:bodyPr/>
          <a:lstStyle/>
          <a:p>
            <a:pPr marL="0" indent="0">
              <a:buNone/>
            </a:pPr>
            <a:r>
              <a:rPr lang="de-DE" sz="2400" dirty="0" err="1" smtClean="0">
                <a:solidFill>
                  <a:srgbClr val="000099"/>
                </a:solidFill>
              </a:rPr>
              <a:t>Piaci</a:t>
            </a:r>
            <a:r>
              <a:rPr lang="de-DE" sz="2400" dirty="0" smtClean="0">
                <a:solidFill>
                  <a:srgbClr val="000099"/>
                </a:solidFill>
              </a:rPr>
              <a:t> </a:t>
            </a:r>
            <a:r>
              <a:rPr lang="de-DE" sz="2400" dirty="0" err="1" smtClean="0">
                <a:solidFill>
                  <a:srgbClr val="000099"/>
                </a:solidFill>
              </a:rPr>
              <a:t>pozícióink</a:t>
            </a:r>
            <a:r>
              <a:rPr lang="de-DE" sz="2400" dirty="0" smtClean="0">
                <a:solidFill>
                  <a:srgbClr val="000099"/>
                </a:solidFill>
              </a:rPr>
              <a:t> </a:t>
            </a:r>
            <a:r>
              <a:rPr lang="de-DE" sz="2400" dirty="0" err="1" smtClean="0">
                <a:solidFill>
                  <a:srgbClr val="000099"/>
                </a:solidFill>
              </a:rPr>
              <a:t>országonként</a:t>
            </a:r>
            <a:endParaRPr lang="de-DE" sz="2400" dirty="0">
              <a:solidFill>
                <a:srgbClr val="000099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731A11F-3C58-714F-BABB-8D988CD72E81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240611" y="1819476"/>
            <a:ext cx="2275675" cy="1620961"/>
            <a:chOff x="253705" y="1206030"/>
            <a:chExt cx="2275675" cy="1620961"/>
          </a:xfrm>
        </p:grpSpPr>
        <p:sp>
          <p:nvSpPr>
            <p:cNvPr id="49" name="Abgerundetes Rechteck 48"/>
            <p:cNvSpPr/>
            <p:nvPr/>
          </p:nvSpPr>
          <p:spPr>
            <a:xfrm>
              <a:off x="253705" y="1206030"/>
              <a:ext cx="1543113" cy="1572018"/>
            </a:xfrm>
            <a:prstGeom prst="roundRect">
              <a:avLst>
                <a:gd name="adj" fmla="val 3742"/>
              </a:avLst>
            </a:prstGeom>
            <a:solidFill>
              <a:srgbClr val="00B050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53" name="Textfeld 52"/>
            <p:cNvSpPr txBox="1"/>
            <p:nvPr/>
          </p:nvSpPr>
          <p:spPr>
            <a:xfrm>
              <a:off x="356588" y="1226553"/>
              <a:ext cx="995465" cy="160043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Ausztria</a:t>
              </a:r>
              <a: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/>
              </a:r>
              <a:b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</a:br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Cseh</a:t>
              </a:r>
              <a:r>
                <a:rPr lang="de-DE" sz="1400" dirty="0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 </a:t>
              </a:r>
              <a: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/>
              </a:r>
              <a:b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</a:br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Köztársaság</a:t>
              </a:r>
              <a: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/>
              </a:r>
              <a:b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</a:br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Szlovákia</a:t>
              </a:r>
              <a:endParaRPr lang="de-DE" sz="1400" dirty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  <a:p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Románia</a:t>
              </a:r>
              <a:endParaRPr lang="de-DE" sz="1400" dirty="0" smtClean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  <a:p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Bulgária</a:t>
              </a:r>
              <a:endParaRPr lang="de-DE" sz="1400" dirty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  <a:p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Macedónia</a:t>
              </a:r>
              <a:endParaRPr lang="de-DE" sz="1400" dirty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</p:txBody>
        </p:sp>
        <p:sp>
          <p:nvSpPr>
            <p:cNvPr id="61" name="Ellipse 60"/>
            <p:cNvSpPr/>
            <p:nvPr/>
          </p:nvSpPr>
          <p:spPr>
            <a:xfrm>
              <a:off x="1881380" y="1619054"/>
              <a:ext cx="648000" cy="72577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1600" b="1" dirty="0" smtClean="0">
                  <a:solidFill>
                    <a:srgbClr val="000099"/>
                  </a:solidFill>
                </a:rPr>
                <a:t>Nr. </a:t>
              </a:r>
              <a:r>
                <a:rPr lang="de-DE" sz="1600" b="1" dirty="0">
                  <a:solidFill>
                    <a:srgbClr val="000099"/>
                  </a:solidFill>
                </a:rPr>
                <a:t>1</a:t>
              </a:r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319702" y="3522712"/>
            <a:ext cx="2251736" cy="1012197"/>
            <a:chOff x="242999" y="2539589"/>
            <a:chExt cx="2251736" cy="1012197"/>
          </a:xfrm>
        </p:grpSpPr>
        <p:sp>
          <p:nvSpPr>
            <p:cNvPr id="62" name="Abgerundetes Rechteck 61"/>
            <p:cNvSpPr/>
            <p:nvPr/>
          </p:nvSpPr>
          <p:spPr>
            <a:xfrm>
              <a:off x="242999" y="2539589"/>
              <a:ext cx="1549466" cy="1012197"/>
            </a:xfrm>
            <a:prstGeom prst="roundRect">
              <a:avLst>
                <a:gd name="adj" fmla="val 3742"/>
              </a:avLst>
            </a:prstGeom>
            <a:solidFill>
              <a:schemeClr val="accent1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63" name="Textfeld 62"/>
            <p:cNvSpPr txBox="1"/>
            <p:nvPr/>
          </p:nvSpPr>
          <p:spPr>
            <a:xfrm>
              <a:off x="332779" y="2579701"/>
              <a:ext cx="1395831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Albánia</a:t>
              </a:r>
              <a:endParaRPr lang="de-DE" sz="1400" dirty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  <a:p>
              <a: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Baltikum </a:t>
              </a:r>
              <a:r>
                <a:rPr lang="de-DE" sz="1100" dirty="0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(</a:t>
              </a:r>
              <a:r>
                <a:rPr lang="de-DE" sz="11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Nem-élet</a:t>
              </a:r>
              <a:r>
                <a:rPr lang="de-DE" sz="1100" dirty="0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))</a:t>
              </a:r>
              <a: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/>
              </a:r>
              <a:b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</a:br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Grúzia</a:t>
              </a:r>
              <a: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/>
              </a:r>
              <a:b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</a:br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Ukrajna</a:t>
              </a:r>
              <a:endParaRPr lang="de-DE" sz="1400" dirty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</p:txBody>
        </p:sp>
        <p:sp>
          <p:nvSpPr>
            <p:cNvPr id="64" name="Ellipse 63"/>
            <p:cNvSpPr/>
            <p:nvPr/>
          </p:nvSpPr>
          <p:spPr>
            <a:xfrm>
              <a:off x="1882735" y="2685148"/>
              <a:ext cx="612000" cy="61629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1600" b="1" dirty="0">
                  <a:solidFill>
                    <a:srgbClr val="000099"/>
                  </a:solidFill>
                </a:rPr>
                <a:t>Top 3</a:t>
              </a:r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246550" y="4698401"/>
            <a:ext cx="2251736" cy="961566"/>
            <a:chOff x="251807" y="3972137"/>
            <a:chExt cx="2251736" cy="961566"/>
          </a:xfrm>
        </p:grpSpPr>
        <p:sp>
          <p:nvSpPr>
            <p:cNvPr id="41" name="Abgerundetes Rechteck 40"/>
            <p:cNvSpPr/>
            <p:nvPr/>
          </p:nvSpPr>
          <p:spPr>
            <a:xfrm>
              <a:off x="251807" y="3972137"/>
              <a:ext cx="1549372" cy="961566"/>
            </a:xfrm>
            <a:prstGeom prst="roundRect">
              <a:avLst>
                <a:gd name="adj" fmla="val 3742"/>
              </a:avLst>
            </a:prstGeom>
            <a:solidFill>
              <a:schemeClr val="accent3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2" name="Textfeld 41"/>
            <p:cNvSpPr txBox="1"/>
            <p:nvPr/>
          </p:nvSpPr>
          <p:spPr>
            <a:xfrm>
              <a:off x="328523" y="3979596"/>
              <a:ext cx="1340688" cy="954107"/>
            </a:xfrm>
            <a:prstGeom prst="rect">
              <a:avLst/>
            </a:prstGeom>
            <a:solidFill>
              <a:srgbClr val="E6BF1A"/>
            </a:solidFill>
          </p:spPr>
          <p:txBody>
            <a:bodyPr wrap="none" rtlCol="0">
              <a:spAutoFit/>
            </a:bodyPr>
            <a:lstStyle/>
            <a:p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Hovátország</a:t>
              </a:r>
              <a:endParaRPr lang="de-DE" sz="1400" dirty="0" smtClean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  <a:p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Lengyelország</a:t>
              </a:r>
              <a: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/>
              </a:r>
              <a:br>
                <a:rPr lang="de-DE" sz="1400" dirty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</a:br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Szerbia</a:t>
              </a:r>
              <a:endParaRPr lang="de-DE" sz="1400" dirty="0" smtClean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  <a:p>
              <a:r>
                <a:rPr lang="de-DE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Fehéroroszország</a:t>
              </a:r>
              <a:endParaRPr lang="de-DE" sz="1400" dirty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</p:txBody>
        </p:sp>
        <p:sp>
          <p:nvSpPr>
            <p:cNvPr id="43" name="Ellipse 42"/>
            <p:cNvSpPr/>
            <p:nvPr/>
          </p:nvSpPr>
          <p:spPr>
            <a:xfrm>
              <a:off x="1891543" y="4084175"/>
              <a:ext cx="612000" cy="612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1600" b="1" dirty="0">
                  <a:solidFill>
                    <a:srgbClr val="000099"/>
                  </a:solidFill>
                </a:rPr>
                <a:t>Top 5</a:t>
              </a:r>
            </a:p>
          </p:txBody>
        </p:sp>
      </p:grpSp>
      <p:grpSp>
        <p:nvGrpSpPr>
          <p:cNvPr id="52" name="Gruppieren 51"/>
          <p:cNvGrpSpPr/>
          <p:nvPr/>
        </p:nvGrpSpPr>
        <p:grpSpPr>
          <a:xfrm>
            <a:off x="2571438" y="1847351"/>
            <a:ext cx="2171416" cy="974630"/>
            <a:chOff x="355599" y="1206031"/>
            <a:chExt cx="2171416" cy="974630"/>
          </a:xfrm>
        </p:grpSpPr>
        <p:sp>
          <p:nvSpPr>
            <p:cNvPr id="54" name="Abgerundetes Rechteck 53"/>
            <p:cNvSpPr/>
            <p:nvPr/>
          </p:nvSpPr>
          <p:spPr>
            <a:xfrm>
              <a:off x="355599" y="1206031"/>
              <a:ext cx="1441219" cy="974630"/>
            </a:xfrm>
            <a:prstGeom prst="roundRect">
              <a:avLst>
                <a:gd name="adj" fmla="val 3742"/>
              </a:avLst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55" name="Textfeld 54"/>
            <p:cNvSpPr txBox="1"/>
            <p:nvPr/>
          </p:nvSpPr>
          <p:spPr>
            <a:xfrm>
              <a:off x="473318" y="1226553"/>
              <a:ext cx="1108060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err="1" smtClean="0">
                  <a:solidFill>
                    <a:schemeClr val="bg1"/>
                  </a:solidFill>
                  <a:latin typeface="HelveticaNeueLT Com 57 Cn" panose="020B0506030502020204" pitchFamily="34" charset="0"/>
                </a:rPr>
                <a:t>Bosznia</a:t>
              </a:r>
              <a:r>
                <a:rPr lang="de-DE" sz="1400" dirty="0" smtClean="0">
                  <a:solidFill>
                    <a:schemeClr val="bg1"/>
                  </a:solidFill>
                  <a:latin typeface="HelveticaNeueLT Com 57 Cn" panose="020B0506030502020204" pitchFamily="34" charset="0"/>
                </a:rPr>
                <a:t>-</a:t>
              </a:r>
              <a:r>
                <a:rPr lang="de-DE" sz="1400" dirty="0">
                  <a:solidFill>
                    <a:schemeClr val="bg1"/>
                  </a:solidFill>
                  <a:latin typeface="HelveticaNeueLT Com 57 Cn" panose="020B0506030502020204" pitchFamily="34" charset="0"/>
                </a:rPr>
                <a:t/>
              </a:r>
              <a:br>
                <a:rPr lang="de-DE" sz="1400" dirty="0">
                  <a:solidFill>
                    <a:schemeClr val="bg1"/>
                  </a:solidFill>
                  <a:latin typeface="HelveticaNeueLT Com 57 Cn" panose="020B0506030502020204" pitchFamily="34" charset="0"/>
                </a:rPr>
              </a:br>
              <a:r>
                <a:rPr lang="de-DE" sz="1400" dirty="0" err="1" smtClean="0">
                  <a:solidFill>
                    <a:schemeClr val="bg1"/>
                  </a:solidFill>
                  <a:latin typeface="HelveticaNeueLT Com 57 Cn" panose="020B0506030502020204" pitchFamily="34" charset="0"/>
                </a:rPr>
                <a:t>Hercegovina</a:t>
              </a:r>
              <a:endParaRPr lang="de-DE" sz="1400" dirty="0">
                <a:solidFill>
                  <a:schemeClr val="bg1"/>
                </a:solidFill>
                <a:latin typeface="HelveticaNeueLT Com 57 Cn" panose="020B0506030502020204" pitchFamily="34" charset="0"/>
              </a:endParaRPr>
            </a:p>
            <a:p>
              <a:r>
                <a:rPr lang="de-DE" sz="1400" dirty="0" err="1" smtClean="0">
                  <a:solidFill>
                    <a:schemeClr val="bg1"/>
                  </a:solidFill>
                  <a:latin typeface="HelveticaNeueLT Com 57 Cn" panose="020B0506030502020204" pitchFamily="34" charset="0"/>
                </a:rPr>
                <a:t>Magyarország</a:t>
              </a:r>
              <a:endParaRPr lang="de-DE" sz="1400" dirty="0">
                <a:solidFill>
                  <a:schemeClr val="bg1"/>
                </a:solidFill>
                <a:latin typeface="HelveticaNeueLT Com 57 Cn" panose="020B0506030502020204" pitchFamily="34" charset="0"/>
              </a:endParaRPr>
            </a:p>
            <a:p>
              <a:r>
                <a:rPr lang="de-DE" sz="1400" dirty="0">
                  <a:solidFill>
                    <a:schemeClr val="bg1"/>
                  </a:solidFill>
                  <a:latin typeface="HelveticaNeueLT Com 57 Cn" panose="020B0506030502020204" pitchFamily="34" charset="0"/>
                </a:rPr>
                <a:t>Montenegro</a:t>
              </a:r>
            </a:p>
          </p:txBody>
        </p:sp>
        <p:sp>
          <p:nvSpPr>
            <p:cNvPr id="56" name="Ellipse 55"/>
            <p:cNvSpPr/>
            <p:nvPr/>
          </p:nvSpPr>
          <p:spPr>
            <a:xfrm>
              <a:off x="1879015" y="1369126"/>
              <a:ext cx="648000" cy="64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1600" b="1" dirty="0">
                  <a:solidFill>
                    <a:srgbClr val="000099"/>
                  </a:solidFill>
                </a:rPr>
                <a:t>Top 10</a:t>
              </a:r>
            </a:p>
          </p:txBody>
        </p:sp>
      </p:grpSp>
      <p:grpSp>
        <p:nvGrpSpPr>
          <p:cNvPr id="75" name="Gruppieren 74"/>
          <p:cNvGrpSpPr/>
          <p:nvPr/>
        </p:nvGrpSpPr>
        <p:grpSpPr>
          <a:xfrm>
            <a:off x="3797611" y="5184217"/>
            <a:ext cx="2083889" cy="612000"/>
            <a:chOff x="359959" y="3823755"/>
            <a:chExt cx="2083889" cy="612000"/>
          </a:xfrm>
          <a:solidFill>
            <a:schemeClr val="bg2"/>
          </a:solidFill>
        </p:grpSpPr>
        <p:sp>
          <p:nvSpPr>
            <p:cNvPr id="76" name="Abgerundetes Rechteck 75"/>
            <p:cNvSpPr/>
            <p:nvPr/>
          </p:nvSpPr>
          <p:spPr>
            <a:xfrm>
              <a:off x="359959" y="3972137"/>
              <a:ext cx="1441219" cy="315236"/>
            </a:xfrm>
            <a:prstGeom prst="roundRect">
              <a:avLst>
                <a:gd name="adj" fmla="val 3742"/>
              </a:avLst>
            </a:prstGeom>
            <a:grpFill/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77" name="Textfeld 76"/>
            <p:cNvSpPr txBox="1"/>
            <p:nvPr/>
          </p:nvSpPr>
          <p:spPr>
            <a:xfrm>
              <a:off x="477678" y="3979596"/>
              <a:ext cx="976934" cy="30777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r>
                <a:rPr lang="de-DE" sz="1400" dirty="0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T</a:t>
              </a:r>
              <a:r>
                <a:rPr lang="hu-HU" sz="1400" dirty="0" err="1" smtClean="0">
                  <a:solidFill>
                    <a:srgbClr val="000099"/>
                  </a:solidFill>
                  <a:latin typeface="HelveticaNeueLT Com 57 Cn" panose="020B0506030502020204" pitchFamily="34" charset="0"/>
                </a:rPr>
                <a:t>örökország</a:t>
              </a:r>
              <a:endParaRPr lang="de-DE" sz="1400" dirty="0">
                <a:solidFill>
                  <a:srgbClr val="000099"/>
                </a:solidFill>
                <a:latin typeface="HelveticaNeueLT Com 57 Cn" panose="020B0506030502020204" pitchFamily="34" charset="0"/>
              </a:endParaRPr>
            </a:p>
          </p:txBody>
        </p:sp>
        <p:sp>
          <p:nvSpPr>
            <p:cNvPr id="78" name="Ellipse 77"/>
            <p:cNvSpPr/>
            <p:nvPr/>
          </p:nvSpPr>
          <p:spPr>
            <a:xfrm>
              <a:off x="1831848" y="3823755"/>
              <a:ext cx="612000" cy="612000"/>
            </a:xfrm>
            <a:prstGeom prst="ellipse">
              <a:avLst/>
            </a:prstGeom>
            <a:grpFill/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de-DE" sz="1600" b="1" dirty="0">
                  <a:solidFill>
                    <a:srgbClr val="000099"/>
                  </a:solidFill>
                </a:rPr>
                <a:t>&gt;10</a:t>
              </a:r>
            </a:p>
          </p:txBody>
        </p:sp>
      </p:grpSp>
      <p:sp>
        <p:nvSpPr>
          <p:cNvPr id="13" name="Szövegdoboz 12"/>
          <p:cNvSpPr txBox="1"/>
          <p:nvPr/>
        </p:nvSpPr>
        <p:spPr>
          <a:xfrm>
            <a:off x="246550" y="5934456"/>
            <a:ext cx="8376241" cy="646331"/>
          </a:xfrm>
          <a:prstGeom prst="rect">
            <a:avLst/>
          </a:prstGeom>
          <a:solidFill>
            <a:srgbClr val="0066FF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00" rtlCol="0">
            <a:spAutoFit/>
          </a:bodyPr>
          <a:lstStyle/>
          <a:p>
            <a:r>
              <a:rPr lang="hu-HU" sz="1200" b="1" dirty="0" smtClean="0">
                <a:solidFill>
                  <a:schemeClr val="bg1">
                    <a:lumMod val="9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r.1 központi piacainkon is, átlagosan 18%-os piaci részesedéssel</a:t>
            </a:r>
          </a:p>
          <a:p>
            <a:endParaRPr lang="hu-HU" sz="1200" b="1" dirty="0" smtClean="0">
              <a:solidFill>
                <a:schemeClr val="bg1">
                  <a:lumMod val="95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r>
              <a:rPr lang="hu-HU" sz="1200" dirty="0" smtClean="0">
                <a:solidFill>
                  <a:schemeClr val="bg1">
                    <a:lumMod val="9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Ausztria,Cseh Köztársaság,Szlovákia,Lengyelország,Románia,Bulgária,Horvátország,Magyarország,Szerbia,Ukrajna)</a:t>
            </a:r>
            <a:endParaRPr lang="hu-HU" sz="1200" dirty="0">
              <a:solidFill>
                <a:schemeClr val="bg1">
                  <a:lumMod val="95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9403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A VIENNA INSURANCE GROUP MAGYARORSZÁGON – 2017-2018</a:t>
            </a:r>
            <a:endParaRPr lang="hu-HU" sz="2400" dirty="0">
              <a:solidFill>
                <a:srgbClr val="000099"/>
              </a:solidFill>
            </a:endParaRPr>
          </a:p>
        </p:txBody>
      </p:sp>
      <p:sp>
        <p:nvSpPr>
          <p:cNvPr id="5" name="Tartalom helye 4"/>
          <p:cNvSpPr>
            <a:spLocks noGrp="1"/>
          </p:cNvSpPr>
          <p:nvPr>
            <p:ph sz="half" idx="1"/>
          </p:nvPr>
        </p:nvSpPr>
        <p:spPr>
          <a:xfrm>
            <a:off x="179388" y="1195608"/>
            <a:ext cx="8845740" cy="5184576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április 24-i bejelentés:</a:t>
            </a:r>
          </a:p>
          <a:p>
            <a:pPr marL="0" indent="0">
              <a:spcBef>
                <a:spcPts val="600"/>
              </a:spcBef>
              <a:spcAft>
                <a:spcPts val="1200"/>
              </a:spcAft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soport három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tosítója</a:t>
            </a:r>
          </a:p>
          <a:p>
            <a:pPr marL="1616075" indent="0">
              <a:spcBef>
                <a:spcPts val="600"/>
              </a:spcBef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ON Biztosító 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na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surance Group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rt.</a:t>
            </a:r>
          </a:p>
          <a:p>
            <a:pPr marL="1616075" indent="0">
              <a:spcBef>
                <a:spcPts val="600"/>
              </a:spcBef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TE Biztosító 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na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surance Group Zrt.</a:t>
            </a:r>
          </a:p>
          <a:p>
            <a:pPr marL="1616075" indent="0">
              <a:spcBef>
                <a:spcPts val="600"/>
              </a:spcBef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NA LIFE 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na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surance Group Zrt.</a:t>
            </a:r>
          </a:p>
          <a:p>
            <a:pPr marL="0" indent="0">
              <a:spcBef>
                <a:spcPts val="1800"/>
              </a:spcBef>
              <a:spcAft>
                <a:spcPts val="600"/>
              </a:spcAft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ON márkanév alatt egyesül (2018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január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)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esült cég várható magyarországi piaci pozíciója: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.6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Összesített díjbevételük: kb. 70 milliárd Ft </a:t>
            </a:r>
          </a:p>
        </p:txBody>
      </p:sp>
    </p:spTree>
    <p:extLst>
      <p:ext uri="{BB962C8B-B14F-4D97-AF65-F5344CB8AC3E}">
        <p14:creationId xmlns:p14="http://schemas.microsoft.com/office/powerpoint/2010/main" val="212680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>
                <a:solidFill>
                  <a:srgbClr val="000099"/>
                </a:solidFill>
              </a:rPr>
              <a:t>KKV SZEGMENS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 január – Létrejött a Vállalati Igazgatóság</a:t>
            </a:r>
          </a:p>
          <a:p>
            <a:pPr marL="0" indent="0"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minden vállalati - beleértve kkv-t - vagyon és flotta gépjármű biztosítás</a:t>
            </a:r>
            <a:b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állalás,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ztráció és kárrendezés egy helyen)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kv szegmens az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ON-on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lül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1343025" lvl="3">
              <a:buSzPct val="100000"/>
              <a:buFont typeface="Wingdings" panose="05000000000000000000" pitchFamily="2" charset="2"/>
              <a:buChar char="§"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gyon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 üzemszünet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.ö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2 Mrd Ft alatt, és</a:t>
            </a:r>
          </a:p>
          <a:p>
            <a:pPr marL="1343025" lvl="3">
              <a:buSzPct val="100000"/>
              <a:buFont typeface="Wingdings" panose="05000000000000000000" pitchFamily="2" charset="2"/>
              <a:buChar char="§"/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Éves forgalom 2 Mrd Ft alatt, és</a:t>
            </a:r>
          </a:p>
          <a:p>
            <a:pPr marL="1343025" lvl="3">
              <a:buSzPct val="100000"/>
              <a:buFont typeface="Wingdings" panose="05000000000000000000" pitchFamily="2" charset="2"/>
              <a:buChar char="§"/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lelősség limit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x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50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 Ft/kár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100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t/év, és</a:t>
            </a:r>
          </a:p>
          <a:p>
            <a:pPr marL="1343025" lvl="3">
              <a:buSzPct val="100000"/>
              <a:buFont typeface="Wingdings" panose="05000000000000000000" pitchFamily="2" charset="2"/>
              <a:buChar char="§"/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épbiztosítás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.ö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x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500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t, és</a:t>
            </a:r>
          </a:p>
          <a:p>
            <a:pPr marL="1343025" lvl="3">
              <a:buSzPct val="100000"/>
              <a:buFont typeface="Wingdings" panose="05000000000000000000" pitchFamily="2" charset="2"/>
              <a:buChar char="§"/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 I. fejezet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.ö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x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500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érés: </a:t>
            </a:r>
            <a:r>
              <a:rPr 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ifális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ermékekkel és/vagy egyedi kockázatvállalással – </a:t>
            </a:r>
            <a:r>
              <a:rPr lang="hu-HU" sz="20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dig az alkusz igénye szerint!</a:t>
            </a:r>
            <a:endParaRPr lang="hu-HU" sz="20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4873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BUSINESS CLASS ALAPINFÓK</a:t>
            </a:r>
            <a:endParaRPr lang="hu-HU" sz="2400" dirty="0">
              <a:solidFill>
                <a:srgbClr val="000099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9388" y="1052537"/>
            <a:ext cx="8785225" cy="5184775"/>
          </a:xfrm>
        </p:spPr>
        <p:txBody>
          <a:bodyPr/>
          <a:lstStyle/>
          <a:p>
            <a:r>
              <a:rPr lang="hu-HU" alt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s- </a:t>
            </a:r>
            <a:r>
              <a:rPr lang="hu-HU" alt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s középvállalati szektor részére </a:t>
            </a:r>
            <a:r>
              <a:rPr lang="hu-HU" alt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öthető csomagtermék (kötelező vagyon elemmel) </a:t>
            </a:r>
            <a:r>
              <a:rPr lang="hu-HU" alt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ON-Business</a:t>
            </a:r>
            <a:r>
              <a:rPr lang="hu-HU" alt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hu-HU" alt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</a:t>
            </a:r>
            <a:r>
              <a:rPr lang="hu-HU" alt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BC) :</a:t>
            </a:r>
            <a:endParaRPr lang="hu-HU" alt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hu-HU" alt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galom: maximum 1 Mrd Ft</a:t>
            </a:r>
          </a:p>
          <a:p>
            <a:pPr lvl="1"/>
            <a:r>
              <a:rPr lang="hu-HU" alt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étszám: maximum 250 fő</a:t>
            </a:r>
          </a:p>
          <a:p>
            <a:pPr lvl="1"/>
            <a:r>
              <a:rPr lang="hu-HU" alt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tosítási összeg: maximum 1 Mrd </a:t>
            </a:r>
            <a:r>
              <a:rPr lang="hu-HU" alt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t/telephely vagy kötvény</a:t>
            </a:r>
            <a:endParaRPr lang="hu-HU" alt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alt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díjszámító program és feltételek elérhetősége:</a:t>
            </a:r>
          </a:p>
          <a:p>
            <a:pPr marL="0" indent="0" algn="ctr">
              <a:buNone/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partnerportal.unionbiztosito.hu/Kiwa</a:t>
            </a:r>
            <a:endParaRPr lang="hu-HU" sz="2000" dirty="0" smtClean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olgáltatások – Fontos információk – Dokumentumok menüpontban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hu-HU" alt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GY</a:t>
            </a:r>
          </a:p>
          <a:p>
            <a:pPr marL="0" indent="0" algn="ctr">
              <a:buNone/>
            </a:pPr>
            <a:r>
              <a:rPr lang="hu-HU" altLang="hu-HU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janlatkeres</a:t>
            </a:r>
            <a:r>
              <a:rPr lang="hu-HU" altLang="hu-H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@</a:t>
            </a:r>
            <a:r>
              <a:rPr lang="hu-HU" altLang="hu-HU" sz="2000" b="1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onbiztosito.hu</a:t>
            </a:r>
            <a:endParaRPr lang="hu-HU" altLang="hu-H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alt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jánlat belső útja </a:t>
            </a:r>
            <a:r>
              <a:rPr lang="hu-HU" altLang="hu-HU" sz="2000" dirty="0" err="1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</a:t>
            </a:r>
            <a:r>
              <a:rPr lang="hu-HU" alt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 Mrd Ft biztosítási összeg és/vagy forgalom erejéig: Klinger József</a:t>
            </a:r>
          </a:p>
          <a:p>
            <a:endParaRPr lang="hu-HU" alt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hu-HU" altLang="hu-HU" sz="2400" dirty="0" smtClean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hu-HU" altLang="hu-HU" sz="24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47375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200" dirty="0" smtClean="0">
                <a:solidFill>
                  <a:srgbClr val="000099"/>
                </a:solidFill>
              </a:rPr>
              <a:t>KOCKÁZATVÁLLALÁSI IRÁNYELVEK, LIMITEK</a:t>
            </a:r>
            <a:endParaRPr lang="hu-HU" sz="2200" dirty="0">
              <a:solidFill>
                <a:srgbClr val="000099"/>
              </a:solidFill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79388" y="908720"/>
            <a:ext cx="8785225" cy="518477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őbb nem 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ívánatos tevékenységek:</a:t>
            </a:r>
          </a:p>
          <a:p>
            <a:pPr lvl="1"/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ányászati kockázatok</a:t>
            </a:r>
          </a:p>
          <a:p>
            <a:pPr lvl="1"/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egyvergyártás,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kereskedelem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javítás</a:t>
            </a: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lang="hu-HU" sz="2000" dirty="0" err="1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tárolás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1"/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őtér üzemeltetés</a:t>
            </a:r>
          </a:p>
          <a:p>
            <a:pPr lvl="1"/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bbanó anyagok, pirotechnikai eszközök gyártása</a:t>
            </a:r>
          </a:p>
          <a:p>
            <a:pPr lvl="1"/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álogházak, pénzváltók, ékszerboltok </a:t>
            </a:r>
          </a:p>
          <a:p>
            <a:pPr lvl="1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hányipar (dohányboltokat kivéve)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lvl="1"/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értékszállítá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hu-HU" sz="2000" dirty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. vagyonbiztosítási limitösszegek: </a:t>
            </a: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ztosítási összeg vagy fedezeti limittábla szerint (pl. különféle költségek)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. felelősségbiztosítási limitösszegek:</a:t>
            </a:r>
          </a:p>
          <a:p>
            <a:pPr marL="457200" lvl="1" indent="0">
              <a:buNone/>
            </a:pPr>
            <a:r>
              <a:rPr lang="hu-HU" sz="2000" dirty="0" smtClean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50 M Ft/kár, 100 M Ft/év</a:t>
            </a:r>
            <a:endParaRPr lang="hu-HU" sz="2000" dirty="0">
              <a:solidFill>
                <a:srgbClr val="0000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hu-HU" dirty="0" smtClean="0"/>
          </a:p>
        </p:txBody>
      </p:sp>
    </p:spTree>
    <p:extLst>
      <p:ext uri="{BB962C8B-B14F-4D97-AF65-F5344CB8AC3E}">
        <p14:creationId xmlns:p14="http://schemas.microsoft.com/office/powerpoint/2010/main" val="1617866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dirty="0" smtClean="0">
                <a:solidFill>
                  <a:srgbClr val="000099"/>
                </a:solidFill>
              </a:rPr>
              <a:t>ALAP- ÉS KIEGÉSZÍTŐ BIZTOSÍTÁSOK</a:t>
            </a:r>
            <a:endParaRPr lang="hu-HU" sz="2400" dirty="0">
              <a:solidFill>
                <a:srgbClr val="000099"/>
              </a:solidFill>
            </a:endParaRPr>
          </a:p>
        </p:txBody>
      </p:sp>
      <p:graphicFrame>
        <p:nvGraphicFramePr>
          <p:cNvPr id="4" name="Tartalom helye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051907"/>
              </p:ext>
            </p:extLst>
          </p:nvPr>
        </p:nvGraphicFramePr>
        <p:xfrm>
          <a:off x="179389" y="1268413"/>
          <a:ext cx="8569076" cy="50409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41348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hu-HU" sz="2400" kern="1200" dirty="0">
                <a:solidFill>
                  <a:srgbClr val="0000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ÉPÜLETBIZTOSÍTÁS – kockázati csomagok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179389" y="1052736"/>
            <a:ext cx="2880443" cy="4608512"/>
          </a:xfrm>
          <a:solidFill>
            <a:schemeClr val="accent1">
              <a:lumMod val="20000"/>
              <a:lumOff val="80000"/>
            </a:schemeClr>
          </a:solidFill>
        </p:spPr>
        <p:txBody>
          <a:bodyPr/>
          <a:lstStyle/>
          <a:p>
            <a:pPr marL="0" indent="0">
              <a:buNone/>
            </a:pPr>
            <a:r>
              <a:rPr lang="hu-HU" sz="1600" b="1" dirty="0" smtClean="0">
                <a:solidFill>
                  <a:srgbClr val="000099"/>
                </a:solidFill>
              </a:rPr>
              <a:t>ALAP</a:t>
            </a:r>
            <a:r>
              <a:rPr lang="hu-HU" sz="1600" dirty="0" smtClean="0">
                <a:solidFill>
                  <a:srgbClr val="000099"/>
                </a:solidFill>
              </a:rPr>
              <a:t> kockázati csomag:</a:t>
            </a:r>
          </a:p>
          <a:p>
            <a:r>
              <a:rPr lang="hu-HU" sz="1600" dirty="0" smtClean="0">
                <a:solidFill>
                  <a:srgbClr val="000099"/>
                </a:solidFill>
              </a:rPr>
              <a:t>Tűz</a:t>
            </a:r>
          </a:p>
          <a:p>
            <a:r>
              <a:rPr lang="hu-HU" sz="1600" dirty="0" smtClean="0">
                <a:solidFill>
                  <a:srgbClr val="000099"/>
                </a:solidFill>
              </a:rPr>
              <a:t>Villámcsapás</a:t>
            </a:r>
          </a:p>
          <a:p>
            <a:r>
              <a:rPr lang="hu-HU" sz="1600" dirty="0" smtClean="0">
                <a:solidFill>
                  <a:srgbClr val="000099"/>
                </a:solidFill>
              </a:rPr>
              <a:t>Robbanás</a:t>
            </a:r>
          </a:p>
          <a:p>
            <a:r>
              <a:rPr lang="hu-HU" sz="1600" dirty="0" smtClean="0">
                <a:solidFill>
                  <a:srgbClr val="000099"/>
                </a:solidFill>
              </a:rPr>
              <a:t>Légi járművek lezuhanása</a:t>
            </a:r>
          </a:p>
          <a:p>
            <a:r>
              <a:rPr lang="hu-HU" sz="1600" dirty="0" smtClean="0">
                <a:solidFill>
                  <a:srgbClr val="000099"/>
                </a:solidFill>
              </a:rPr>
              <a:t>Vihar</a:t>
            </a:r>
          </a:p>
          <a:p>
            <a:r>
              <a:rPr lang="hu-HU" sz="1600" dirty="0" smtClean="0">
                <a:solidFill>
                  <a:srgbClr val="000099"/>
                </a:solidFill>
              </a:rPr>
              <a:t>Felhőszakadás</a:t>
            </a:r>
          </a:p>
          <a:p>
            <a:r>
              <a:rPr lang="hu-HU" sz="1600" dirty="0" smtClean="0">
                <a:solidFill>
                  <a:srgbClr val="000099"/>
                </a:solidFill>
              </a:rPr>
              <a:t>Jégverés</a:t>
            </a:r>
          </a:p>
          <a:p>
            <a:r>
              <a:rPr lang="hu-HU" sz="1600" dirty="0" err="1" smtClean="0">
                <a:solidFill>
                  <a:srgbClr val="000099"/>
                </a:solidFill>
              </a:rPr>
              <a:t>Hónyomás</a:t>
            </a:r>
            <a:endParaRPr lang="hu-HU" sz="1600" dirty="0" smtClean="0">
              <a:solidFill>
                <a:srgbClr val="000099"/>
              </a:solidFill>
            </a:endParaRPr>
          </a:p>
          <a:p>
            <a:r>
              <a:rPr lang="hu-HU" sz="1600" dirty="0" smtClean="0">
                <a:solidFill>
                  <a:srgbClr val="000099"/>
                </a:solidFill>
              </a:rPr>
              <a:t>Földrengés</a:t>
            </a:r>
          </a:p>
          <a:p>
            <a:r>
              <a:rPr lang="hu-HU" sz="1600" dirty="0" smtClean="0">
                <a:solidFill>
                  <a:srgbClr val="000099"/>
                </a:solidFill>
              </a:rPr>
              <a:t>Vezetékes vízkár</a:t>
            </a:r>
          </a:p>
          <a:p>
            <a:r>
              <a:rPr lang="hu-HU" sz="1600" dirty="0" smtClean="0">
                <a:solidFill>
                  <a:srgbClr val="000099"/>
                </a:solidFill>
              </a:rPr>
              <a:t>Ismeretlen jármű ütközése</a:t>
            </a:r>
          </a:p>
          <a:p>
            <a:pPr marL="0" indent="0">
              <a:buNone/>
            </a:pPr>
            <a:endParaRPr lang="hu-HU" sz="1200" dirty="0" smtClean="0">
              <a:solidFill>
                <a:schemeClr val="tx1"/>
              </a:solidFill>
            </a:endParaRPr>
          </a:p>
          <a:p>
            <a:endParaRPr lang="hu-HU" sz="1200" dirty="0" smtClean="0">
              <a:solidFill>
                <a:schemeClr val="tx1"/>
              </a:solidFill>
            </a:endParaRP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3491880" y="1124744"/>
            <a:ext cx="5112568" cy="302433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 smtClean="0">
                <a:solidFill>
                  <a:srgbClr val="000099"/>
                </a:solidFill>
                <a:latin typeface="+mn-lt"/>
              </a:rPr>
              <a:t>TELJES</a:t>
            </a: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 kockázati csomag: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Árvíz (31. naptól)</a:t>
            </a:r>
            <a:endParaRPr lang="hu-HU" sz="1600" kern="0" dirty="0">
              <a:solidFill>
                <a:srgbClr val="000099"/>
              </a:solidFill>
              <a:latin typeface="+mn-lt"/>
            </a:endParaRP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Földmozgás (31. naptól)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Vezetékes vízkár bővítés (pl. elfolyt víz)</a:t>
            </a:r>
            <a:endParaRPr lang="hu-HU" sz="1600" kern="0" dirty="0">
              <a:solidFill>
                <a:srgbClr val="000099"/>
              </a:solidFill>
              <a:latin typeface="+mn-lt"/>
            </a:endParaRP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>
                <a:solidFill>
                  <a:srgbClr val="000099"/>
                </a:solidFill>
                <a:latin typeface="+mn-lt"/>
              </a:rPr>
              <a:t>Technológiai csőtörés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>
                <a:solidFill>
                  <a:srgbClr val="000099"/>
                </a:solidFill>
                <a:latin typeface="+mn-lt"/>
              </a:rPr>
              <a:t>Villámcsapás közvetett </a:t>
            </a: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hatása (1 km)</a:t>
            </a:r>
            <a:endParaRPr lang="hu-HU" sz="1600" kern="0" dirty="0">
              <a:solidFill>
                <a:srgbClr val="000099"/>
              </a:solidFill>
              <a:latin typeface="+mn-lt"/>
            </a:endParaRP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>
                <a:solidFill>
                  <a:srgbClr val="000099"/>
                </a:solidFill>
                <a:latin typeface="+mn-lt"/>
              </a:rPr>
              <a:t>Füst és hő okozta károk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>
                <a:solidFill>
                  <a:srgbClr val="000099"/>
                </a:solidFill>
                <a:latin typeface="+mn-lt"/>
              </a:rPr>
              <a:t>Elektromos </a:t>
            </a: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tűz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Emelkedő limitek</a:t>
            </a:r>
          </a:p>
          <a:p>
            <a:pPr marL="342900" indent="-342900">
              <a:lnSpc>
                <a:spcPct val="10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b="1" kern="0" dirty="0" smtClean="0">
                <a:solidFill>
                  <a:srgbClr val="FF0000"/>
                </a:solidFill>
                <a:latin typeface="+mn-lt"/>
              </a:rPr>
              <a:t>Vandalizmus</a:t>
            </a:r>
            <a:endParaRPr lang="hu-HU" sz="1600" b="1" kern="0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4901952" y="4221088"/>
            <a:ext cx="4206552" cy="129614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r>
              <a:rPr lang="hu-HU" sz="1600" b="1" kern="0" dirty="0" smtClean="0">
                <a:solidFill>
                  <a:srgbClr val="000099"/>
                </a:solidFill>
                <a:latin typeface="+mn-lt"/>
              </a:rPr>
              <a:t>EXTRA</a:t>
            </a: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 kockázati csomag:</a:t>
            </a:r>
          </a:p>
          <a:p>
            <a:pPr marL="342900" indent="-342900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Vezetékes vízkár további bővítés (pl. szennyvízcső törés, dugulás)</a:t>
            </a:r>
          </a:p>
          <a:p>
            <a:pPr marL="342900" indent="-342900"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60000"/>
              <a:buFont typeface="Wingdings" pitchFamily="2" charset="2"/>
              <a:buChar char="l"/>
              <a:defRPr/>
            </a:pPr>
            <a:r>
              <a:rPr lang="hu-HU" sz="1600" kern="0" dirty="0" smtClean="0">
                <a:solidFill>
                  <a:srgbClr val="000099"/>
                </a:solidFill>
                <a:latin typeface="+mn-lt"/>
              </a:rPr>
              <a:t>Magasabb limitek</a:t>
            </a:r>
            <a:endParaRPr lang="hu-HU" sz="1600" kern="0" dirty="0">
              <a:solidFill>
                <a:srgbClr val="000099"/>
              </a:solidFill>
              <a:latin typeface="+mn-lt"/>
            </a:endParaRPr>
          </a:p>
          <a:p>
            <a:pPr>
              <a:lnSpc>
                <a:spcPct val="115000"/>
              </a:lnSpc>
              <a:spcBef>
                <a:spcPct val="20000"/>
              </a:spcBef>
              <a:buClr>
                <a:srgbClr val="FF0000"/>
              </a:buClr>
              <a:buSzPct val="60000"/>
              <a:defRPr/>
            </a:pPr>
            <a:endParaRPr lang="hu-HU" sz="1200" i="1" kern="0" dirty="0">
              <a:solidFill>
                <a:srgbClr val="000099"/>
              </a:solidFill>
              <a:latin typeface="+mn-lt"/>
            </a:endParaRP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3995936" y="4339952"/>
            <a:ext cx="762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dirty="0"/>
              <a:t>+</a:t>
            </a: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2873896" y="2395736"/>
            <a:ext cx="762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dirty="0"/>
              <a:t>+</a:t>
            </a:r>
          </a:p>
        </p:txBody>
      </p:sp>
      <p:sp>
        <p:nvSpPr>
          <p:cNvPr id="2" name="Tartalom helye 1"/>
          <p:cNvSpPr>
            <a:spLocks noGrp="1"/>
          </p:cNvSpPr>
          <p:nvPr>
            <p:ph sz="half" idx="2"/>
          </p:nvPr>
        </p:nvSpPr>
        <p:spPr>
          <a:xfrm>
            <a:off x="3275856" y="5589240"/>
            <a:ext cx="4680520" cy="1088772"/>
          </a:xfrm>
          <a:solidFill>
            <a:schemeClr val="accent5">
              <a:lumMod val="90000"/>
            </a:schemeClr>
          </a:solidFill>
          <a:ln>
            <a:solidFill>
              <a:schemeClr val="accent5">
                <a:lumMod val="90000"/>
              </a:schemeClr>
            </a:solidFill>
          </a:ln>
        </p:spPr>
        <p:txBody>
          <a:bodyPr/>
          <a:lstStyle/>
          <a:p>
            <a:pPr marL="0" indent="0">
              <a:buNone/>
            </a:pPr>
            <a:r>
              <a:rPr lang="hu-HU" sz="1600" b="1" dirty="0">
                <a:solidFill>
                  <a:srgbClr val="000099"/>
                </a:solidFill>
              </a:rPr>
              <a:t>ALL RISKS</a:t>
            </a:r>
            <a:r>
              <a:rPr lang="hu-HU" sz="1600" dirty="0">
                <a:solidFill>
                  <a:srgbClr val="000099"/>
                </a:solidFill>
              </a:rPr>
              <a:t> </a:t>
            </a:r>
            <a:r>
              <a:rPr lang="hu-HU" sz="1600" dirty="0" smtClean="0">
                <a:solidFill>
                  <a:srgbClr val="000099"/>
                </a:solidFill>
              </a:rPr>
              <a:t>kockázati csomag</a:t>
            </a:r>
          </a:p>
          <a:p>
            <a:pPr marL="0" indent="0">
              <a:buNone/>
            </a:pPr>
            <a:r>
              <a:rPr lang="hu-HU" sz="1600" dirty="0" smtClean="0">
                <a:solidFill>
                  <a:srgbClr val="000099"/>
                </a:solidFill>
              </a:rPr>
              <a:t>EXTRA csomag + minden egyéb kockázat, ami nincs kizárva. Elolvasandó a kizárások köre!</a:t>
            </a:r>
          </a:p>
        </p:txBody>
      </p:sp>
      <p:sp>
        <p:nvSpPr>
          <p:cNvPr id="10" name="Text Box 6"/>
          <p:cNvSpPr txBox="1">
            <a:spLocks noChangeArrowheads="1"/>
          </p:cNvSpPr>
          <p:nvPr/>
        </p:nvSpPr>
        <p:spPr bwMode="auto">
          <a:xfrm>
            <a:off x="8051405" y="5733256"/>
            <a:ext cx="762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hu-HU" dirty="0"/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0199721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/>
      <p:bldP spid="9" grpId="0"/>
      <p:bldP spid="2" grpId="0" build="allAtOnce" animBg="1"/>
      <p:bldP spid="1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uFanjXpkOAlAuxZL2KT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on">
  <a:themeElements>
    <a:clrScheme name="">
      <a:dk1>
        <a:srgbClr val="000000"/>
      </a:dk1>
      <a:lt1>
        <a:srgbClr val="EAEAEA"/>
      </a:lt1>
      <a:dk2>
        <a:srgbClr val="FFFFFF"/>
      </a:dk2>
      <a:lt2>
        <a:srgbClr val="808080"/>
      </a:lt2>
      <a:accent1>
        <a:srgbClr val="FF0000"/>
      </a:accent1>
      <a:accent2>
        <a:srgbClr val="DDDDDD"/>
      </a:accent2>
      <a:accent3>
        <a:srgbClr val="F3F3F3"/>
      </a:accent3>
      <a:accent4>
        <a:srgbClr val="000000"/>
      </a:accent4>
      <a:accent5>
        <a:srgbClr val="FFAAAA"/>
      </a:accent5>
      <a:accent6>
        <a:srgbClr val="C8C8C8"/>
      </a:accent6>
      <a:hlink>
        <a:srgbClr val="3333FF"/>
      </a:hlink>
      <a:folHlink>
        <a:srgbClr val="F8F8F8"/>
      </a:folHlink>
    </a:clrScheme>
    <a:fontScheme name="un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o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o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o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on 8">
        <a:dk1>
          <a:srgbClr val="000066"/>
        </a:dk1>
        <a:lt1>
          <a:srgbClr val="FFFFFF"/>
        </a:lt1>
        <a:dk2>
          <a:srgbClr val="000066"/>
        </a:dk2>
        <a:lt2>
          <a:srgbClr val="808080"/>
        </a:lt2>
        <a:accent1>
          <a:srgbClr val="FF0000"/>
        </a:accent1>
        <a:accent2>
          <a:srgbClr val="FFFFFF"/>
        </a:accent2>
        <a:accent3>
          <a:srgbClr val="FFFFFF"/>
        </a:accent3>
        <a:accent4>
          <a:srgbClr val="000056"/>
        </a:accent4>
        <a:accent5>
          <a:srgbClr val="FFAAAA"/>
        </a:accent5>
        <a:accent6>
          <a:srgbClr val="E7E7E7"/>
        </a:accent6>
        <a:hlink>
          <a:srgbClr val="000066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é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ion</Template>
  <TotalTime>2242</TotalTime>
  <Words>1836</Words>
  <Application>Microsoft Macintosh PowerPoint</Application>
  <PresentationFormat>On-screen Show (4:3)</PresentationFormat>
  <Paragraphs>386</Paragraphs>
  <Slides>29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7" baseType="lpstr">
      <vt:lpstr>Franklin Gothic Medium</vt:lpstr>
      <vt:lpstr>Helvetica</vt:lpstr>
      <vt:lpstr>HelveticaNeueLT Com 57 Cn</vt:lpstr>
      <vt:lpstr>Times New Roman</vt:lpstr>
      <vt:lpstr>Wingdings</vt:lpstr>
      <vt:lpstr>Arial</vt:lpstr>
      <vt:lpstr>union</vt:lpstr>
      <vt:lpstr>think-cell Folie</vt:lpstr>
      <vt:lpstr>Vállalkozói vagyon- és felelősségbiztosítások az  UNION Biztosítóban</vt:lpstr>
      <vt:lpstr>A VIENNA INSURANCE GROUP…</vt:lpstr>
      <vt:lpstr>AUSZTRIA ÉS KÖZÉP- ÉS KELET EURÓPA VEZETŐ BIZTOSÍTÓJA VAGYUNK</vt:lpstr>
      <vt:lpstr>A VIENNA INSURANCE GROUP MAGYARORSZÁGON – 2017-2018</vt:lpstr>
      <vt:lpstr>KKV SZEGMENS</vt:lpstr>
      <vt:lpstr>BUSINESS CLASS ALAPINFÓK</vt:lpstr>
      <vt:lpstr>KOCKÁZATVÁLLALÁSI IRÁNYELVEK, LIMITEK</vt:lpstr>
      <vt:lpstr>ALAP- ÉS KIEGÉSZÍTŐ BIZTOSÍTÁSOK</vt:lpstr>
      <vt:lpstr>ÉPÜLETBIZTOSÍTÁS – kockázati csomagok</vt:lpstr>
      <vt:lpstr>INGÓSÁGBIZTOSÍTÁS – kockázati       csomagok</vt:lpstr>
      <vt:lpstr>A CSOMAGOK KOMBINÁLHATÓSÁGA</vt:lpstr>
      <vt:lpstr>KATASZTRÓFAFEDEZET</vt:lpstr>
      <vt:lpstr>BC FELELŐSSÉGBIZTOSÍTÁSOK</vt:lpstr>
      <vt:lpstr>FELELŐSSÉGBIZTOSÍTÁSOK - limitek</vt:lpstr>
      <vt:lpstr>BC ÜZEMSZÜNET-BIZTOSÍTÁS</vt:lpstr>
      <vt:lpstr>BC GÉPTÖRÉS-BIZTOSÍTÁS</vt:lpstr>
      <vt:lpstr>ELEKTROMOS ÉS ELEKTRONIKUS BERENDEZÉSEK BIZTOSÍTÁSA (ELBER)</vt:lpstr>
      <vt:lpstr>ÖNRÉSZESEDÉS</vt:lpstr>
      <vt:lpstr>ZÁRADÉKOK, KIZÁRÁSOK</vt:lpstr>
      <vt:lpstr>DÍJKEDVEZMÉNYEK</vt:lpstr>
      <vt:lpstr>TOVÁBBI TERMÉKEK</vt:lpstr>
      <vt:lpstr>ÖNÁLLÓ FELELŐSSÉGBIZTOSÍTÁS</vt:lpstr>
      <vt:lpstr>KIEGÉSZÍTŐ BIZTOSÍTÁSOK</vt:lpstr>
      <vt:lpstr>BIZTOSÍTÓI ELŐNYÖK, KIZÁRÁSOK</vt:lpstr>
      <vt:lpstr>VAGYONBIZTOSÍTÁSI ÜGYFÉL CÉLCSOPORTOK</vt:lpstr>
      <vt:lpstr>DOKUMENTÁCIÓ, AJÁNLATADÁS</vt:lpstr>
      <vt:lpstr>TECHNIKAI INFORMÁCIÓK</vt:lpstr>
      <vt:lpstr>KKV TEAM 2017 JANUÁRTÓL</vt:lpstr>
      <vt:lpstr>Köszönjük a figyelmet!</vt:lpstr>
    </vt:vector>
  </TitlesOfParts>
  <Company>UNION Vienna Insurance Group Biztosító Zrt.</Company>
  <LinksUpToDate>false</LinksUpToDate>
  <SharedDoc>false</SharedDoc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Hajdók Viktória</dc:creator>
  <cp:lastModifiedBy>Microsoft Office User</cp:lastModifiedBy>
  <cp:revision>383</cp:revision>
  <dcterms:created xsi:type="dcterms:W3CDTF">2016-08-25T08:39:39Z</dcterms:created>
  <dcterms:modified xsi:type="dcterms:W3CDTF">2017-05-18T16:05:59Z</dcterms:modified>
</cp:coreProperties>
</file>